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32"/>
  </p:notesMasterIdLst>
  <p:handoutMasterIdLst>
    <p:handoutMasterId r:id="rId33"/>
  </p:handoutMasterIdLst>
  <p:sldIdLst>
    <p:sldId id="336" r:id="rId6"/>
    <p:sldId id="341" r:id="rId7"/>
    <p:sldId id="338" r:id="rId8"/>
    <p:sldId id="339" r:id="rId9"/>
    <p:sldId id="349" r:id="rId10"/>
    <p:sldId id="350" r:id="rId11"/>
    <p:sldId id="342" r:id="rId12"/>
    <p:sldId id="343" r:id="rId13"/>
    <p:sldId id="344" r:id="rId14"/>
    <p:sldId id="345" r:id="rId15"/>
    <p:sldId id="346" r:id="rId16"/>
    <p:sldId id="348" r:id="rId17"/>
    <p:sldId id="351" r:id="rId18"/>
    <p:sldId id="352" r:id="rId19"/>
    <p:sldId id="362" r:id="rId20"/>
    <p:sldId id="364" r:id="rId21"/>
    <p:sldId id="353" r:id="rId22"/>
    <p:sldId id="358" r:id="rId23"/>
    <p:sldId id="359" r:id="rId24"/>
    <p:sldId id="360" r:id="rId25"/>
    <p:sldId id="361" r:id="rId26"/>
    <p:sldId id="363" r:id="rId27"/>
    <p:sldId id="354" r:id="rId28"/>
    <p:sldId id="356" r:id="rId29"/>
    <p:sldId id="357" r:id="rId30"/>
    <p:sldId id="365" r:id="rId31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4B5F70-A701-4EC8-B57F-ACA4B7912268}" v="6" dt="2026-05-10T16:04:00.359"/>
    <p1510:client id="{533A1184-283F-4975-A064-79064A7E3D7F}" v="13" dt="2026-05-10T21:02:13.423"/>
  </p1510:revLst>
</p1510:revInfo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3129" autoAdjust="0"/>
  </p:normalViewPr>
  <p:slideViewPr>
    <p:cSldViewPr snapToGrid="0" showGuides="1">
      <p:cViewPr varScale="1">
        <p:scale>
          <a:sx n="107" d="100"/>
          <a:sy n="107" d="100"/>
        </p:scale>
        <p:origin x="672" y="9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1896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1/05/2026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11/05/2026</a:t>
            </a:fld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000"/>
            </a:lvl1pPr>
          </a:lstStyle>
          <a:p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4055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5.emf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.emf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emf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4.emf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C51160-4C23-14F0-522A-E15B57FC3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305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51160-4C23-14F0-522A-E15B57FC3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06F1A3-7267-B05B-A734-03B943561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51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6F1A3-7267-B05B-A734-03B943561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accent5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5485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50BF203-DABD-246B-96CB-485DA6FF9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10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0BF203-DABD-246B-96CB-485DA6FF9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8477"/>
            <a:ext cx="5158798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5B6CA26F-85F2-499A-B74D-DD2F521CB4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3" name="Floating Logo">
            <a:extLst>
              <a:ext uri="{FF2B5EF4-FFF2-40B4-BE49-F238E27FC236}">
                <a16:creationId xmlns:a16="http://schemas.microsoft.com/office/drawing/2014/main" id="{91F06DD3-D9A5-4CE3-BB43-421E4BC11D4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71E1CD4-D769-435E-BD70-1F92A02512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3" y="1646555"/>
            <a:ext cx="5184000" cy="4251008"/>
          </a:xfrm>
        </p:spPr>
        <p:txBody>
          <a:bodyPr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-DK" dirty="0"/>
              <a:t>Click to add topic, use red </a:t>
            </a:r>
            <a:r>
              <a:rPr lang="da-DK" dirty="0" err="1"/>
              <a:t>color</a:t>
            </a:r>
            <a:r>
              <a:rPr lang="da-DK" dirty="0"/>
              <a:t> to highlight text, use Indent level button to add sub-level style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 userDrawn="1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31AEB7-93EC-8526-D413-011BB6B1BD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66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31AEB7-93EC-8526-D413-011BB6B1B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508477"/>
            <a:ext cx="10728326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E7C833-004A-48F3-96C6-37AF970C1C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2" y="1646555"/>
            <a:ext cx="10728327" cy="4251008"/>
          </a:xfrm>
        </p:spPr>
        <p:txBody>
          <a:bodyPr numCol="2" spcCol="360000"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-DK" dirty="0"/>
              <a:t>Click to add topic, use red </a:t>
            </a:r>
            <a:r>
              <a:rPr lang="da-DK" dirty="0" err="1"/>
              <a:t>color</a:t>
            </a:r>
            <a:r>
              <a:rPr lang="da-DK" dirty="0"/>
              <a:t> to highlight text, use Indent level button to add sub-level style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Logo red">
            <a:extLst>
              <a:ext uri="{FF2B5EF4-FFF2-40B4-BE49-F238E27FC236}">
                <a16:creationId xmlns:a16="http://schemas.microsoft.com/office/drawing/2014/main" id="{3DC4FE27-9A88-4EA3-9CFA-70AE00D06FC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98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94FA303-1671-DCA5-968E-4B3BA991E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06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FA303-1671-DCA5-968E-4B3BA991E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ackground white">
            <a:extLst>
              <a:ext uri="{FF2B5EF4-FFF2-40B4-BE49-F238E27FC236}">
                <a16:creationId xmlns:a16="http://schemas.microsoft.com/office/drawing/2014/main" id="{42F67D6C-E9B5-402D-9EE1-DD1BADE1C5C6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60643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08E4D55-DED0-5F2C-C523-3E89CEA262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75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E4D55-DED0-5F2C-C523-3E89CEA26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106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116DEB-4E96-66D2-5FEA-491C7155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65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16DEB-4E96-66D2-5FEA-491C7155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951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6D5271D-2DBF-8715-3C46-2EA7CC63E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8754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D5271D-2DBF-8715-3C46-2EA7CC63E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9487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DB88EB-1396-191D-1F41-76B1695C4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89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B88EB-1396-191D-1F41-76B1695C4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9700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23C1A9-FD05-9D0C-3278-1BEB979F39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9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23C1A9-FD05-9D0C-3278-1BEB979F3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6167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0830A2E-323E-D931-25C4-D1B7E674F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830A2E-323E-D931-25C4-D1B7E674F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ackground">
            <a:extLst>
              <a:ext uri="{FF2B5EF4-FFF2-40B4-BE49-F238E27FC236}">
                <a16:creationId xmlns:a16="http://schemas.microsoft.com/office/drawing/2014/main" id="{FF23027A-D5A2-44D6-8AA8-11EEB9138562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372F34-070F-477A-9837-DDF7DA4A1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Click to add text, </a:t>
            </a:r>
            <a:r>
              <a:rPr lang="da-DK" noProof="0" dirty="0"/>
              <a:t>use Indent level button to add sub-level style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29606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8299A1-8C39-237E-B0D4-11A98F94F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299A1-8C39-237E-B0D4-11A98F94F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71135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E35D1B7-79A8-0DC7-EDE0-710D80E987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568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5D1B7-79A8-0DC7-EDE0-710D80E98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278143A-C928-452D-8854-FD50B1D74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514" y="-13159"/>
            <a:ext cx="11627077" cy="62951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Click to add text, </a:t>
            </a:r>
            <a:r>
              <a:rPr lang="da-DK" noProof="0" dirty="0"/>
              <a:t>use Indent level button to add sub-level style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2142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6069D5-6C3F-71EC-5C87-B1F67F653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7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6069D5-6C3F-71EC-5C87-B1F67F653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26335D-C5A6-4E4F-AFDE-88688F75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7" y="0"/>
            <a:ext cx="11521875" cy="624473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Text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5687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7DB34AC-4BB8-8914-371D-703C0AB78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98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DB34AC-4BB8-8914-371D-703C0AB78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A8488AF6-DF8B-49C5-A110-5D378AC90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Text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5168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B1AB66-FDE0-0830-9A18-92EB4F309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142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B1AB66-FDE0-0830-9A18-92EB4F309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563AF-A1C8-48CE-A410-D666B6D1C3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0" name="text" descr="{&quot;templafy&quot;:{&quot;id&quot;:&quot;2e049d0a-0562-4953-8e9e-97db8947ec37&quot;}}" title="text">
            <a:extLst>
              <a:ext uri="{FF2B5EF4-FFF2-40B4-BE49-F238E27FC236}">
                <a16:creationId xmlns:a16="http://schemas.microsoft.com/office/drawing/2014/main" id="{83A88521-760D-43A1-9852-2F3991819E38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-DK" sz="1000" noProof="0" dirty="0"/>
              <a:t>Falck.com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476883"/>
            <a:ext cx="11037889" cy="1047777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add tex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07015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AEA124-DE47-B7F7-35D8-565FCD2238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26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EA124-DE47-B7F7-35D8-565FCD2238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text">
            <a:extLst>
              <a:ext uri="{FF2B5EF4-FFF2-40B4-BE49-F238E27FC236}">
                <a16:creationId xmlns:a16="http://schemas.microsoft.com/office/drawing/2014/main" id="{86C0A98B-F9BD-4B21-B9C1-2687709CF6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517184"/>
            <a:ext cx="11037889" cy="1007476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add tex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ext" descr="{&quot;templafy&quot;:{&quot;id&quot;:&quot;93463bbf-96eb-45a3-a210-90c78230889a&quot;}}" title="text">
            <a:extLst>
              <a:ext uri="{FF2B5EF4-FFF2-40B4-BE49-F238E27FC236}">
                <a16:creationId xmlns:a16="http://schemas.microsoft.com/office/drawing/2014/main" id="{30EEE3F4-AE25-4B87-AD35-F372D7B04255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-DK" sz="1000" noProof="0" dirty="0"/>
              <a:t>Falck.com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62362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DC66A06-7693-8F7C-2D16-2B6E4679FE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C66A06-7693-8F7C-2D16-2B6E4679FE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C1EE6D30-DAE4-43B3-A64F-3F8C0D304E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45EE98-2F11-4C72-A6C3-211D8F63C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7999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10728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25E852A-DBD2-478B-BD84-6E9A93D538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2CCCC37-F80F-4624-B1A3-A6239A798F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C29B692-1416-40D2-932B-BB1E3ADB50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CE41F0-384B-4BAC-86F6-8DF6605241E1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781930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5F50C14-C262-71D1-6EF3-0098C52594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91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F50C14-C262-71D1-6EF3-0098C525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A3EC5-DDB9-42AD-9603-3E4C0CF8F05B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2715034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6BBA78-1D04-A8F6-8F7D-E38F41F70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10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BBA78-1D04-A8F6-8F7D-E38F41F70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0926861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, column line,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EC252C-AB60-9CBF-A073-15709F035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93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EC252C-AB60-9CBF-A073-15709F035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2359662"/>
            <a:ext cx="5184000" cy="3537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3" name="Text Placeholder 41">
            <a:extLst>
              <a:ext uri="{FF2B5EF4-FFF2-40B4-BE49-F238E27FC236}">
                <a16:creationId xmlns:a16="http://schemas.microsoft.com/office/drawing/2014/main" id="{8A4EE466-37DF-4A52-9FF6-B5BE436D8A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8675" y="1916113"/>
            <a:ext cx="5184325" cy="314340"/>
          </a:xfrm>
        </p:spPr>
        <p:txBody>
          <a:bodyPr/>
          <a:lstStyle>
            <a:lvl1pPr marL="0" indent="0" rtl="0">
              <a:buFontTx/>
              <a:buNone/>
              <a:defRPr sz="2000" b="1"/>
            </a:lvl1pPr>
            <a:lvl2pPr marL="0" indent="0">
              <a:buFontTx/>
              <a:buNone/>
              <a:defRPr sz="2000" b="1"/>
            </a:lvl2pPr>
            <a:lvl3pPr marL="0" indent="0">
              <a:buFontTx/>
              <a:buNone/>
              <a:defRPr sz="2000" b="1"/>
            </a:lvl3pPr>
            <a:lvl4pPr marL="0" indent="0">
              <a:buFontTx/>
              <a:buNone/>
              <a:defRPr sz="2000" b="1"/>
            </a:lvl4pPr>
            <a:lvl5pPr marL="0" indent="0">
              <a:buFontTx/>
              <a:buNone/>
              <a:defRPr sz="2000" b="1"/>
            </a:lvl5pPr>
          </a:lstStyle>
          <a:p>
            <a:pPr lvl="0"/>
            <a:r>
              <a:rPr lang="da-DK"/>
              <a:t>Click to add chart 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42571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2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4B22252-1C74-2681-19F3-4DC702D09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61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B22252-1C74-2681-19F3-4DC702D09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73200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910C70-B023-4A8C-9926-330390E1D279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9397919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92976D-AAEE-A0F3-EDEC-0494F7418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293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2976D-AAEE-A0F3-EDEC-0494F7418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348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+ 1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5637755-3BD1-910A-051F-4F4B3299F6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64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637755-3BD1-910A-051F-4F4B3299F6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65799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675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70460A-F26E-4CEE-9E4F-84CF192002D8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227443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85DA375-A735-234A-6DF3-A8A3FEE11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396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5DA375-A735-234A-6DF3-A8A3FEE11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0074" y="1702235"/>
            <a:ext cx="33372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074" y="2177294"/>
            <a:ext cx="33372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5475" y="1702235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965475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BE936-48E4-4946-BA55-7CCA6953C5C2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2E2EA-3B2C-481D-AB29-010E6BABB039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5075233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9FD3A6-AB05-B305-EFE7-EA52AC179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08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9FD3A6-AB05-B305-EFE7-EA52AC179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2412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6674" y="1702235"/>
            <a:ext cx="24120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46674" y="2177294"/>
            <a:ext cx="24120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90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90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BCFC9D7-2B4D-418F-A009-782B8B18318B}"/>
              </a:ext>
            </a:extLst>
          </p:cNvPr>
          <p:cNvCxnSpPr>
            <a:cxnSpLocks/>
          </p:cNvCxnSpPr>
          <p:nvPr userDrawn="1"/>
        </p:nvCxnSpPr>
        <p:spPr>
          <a:xfrm>
            <a:off x="3166670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C54820-B41B-489C-B6C4-859D35934E6B}"/>
              </a:ext>
            </a:extLst>
          </p:cNvPr>
          <p:cNvCxnSpPr>
            <a:cxnSpLocks/>
          </p:cNvCxnSpPr>
          <p:nvPr userDrawn="1"/>
        </p:nvCxnSpPr>
        <p:spPr>
          <a:xfrm>
            <a:off x="8710678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381775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FBC295-1875-D0BC-C837-6C15E1F22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47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FBC295-1875-D0BC-C837-6C15E1F22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5184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51840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18675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18675" y="4372576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6154675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0469184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F8986F-78FB-D110-AE4F-4FFEC415F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222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F8986F-78FB-D110-AE4F-4FFEC415F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57AE8D-72C5-4931-A8B0-B7917C380EB7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33372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074" y="1702232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70074" y="217778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074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70074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BF3B2AF-25AE-4998-9DBE-39A7E60534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5475" y="1702232"/>
            <a:ext cx="3337200" cy="360000"/>
          </a:xfrm>
        </p:spPr>
        <p:txBody>
          <a:bodyPr/>
          <a:lstStyle>
            <a:lvl1pPr marL="0" indent="0" rtl="0">
              <a:buNone/>
              <a:defRPr b="1"/>
            </a:lvl1pPr>
            <a:lvl2pPr marL="0" indent="0">
              <a:buNone/>
              <a:defRPr b="1"/>
            </a:lvl2pPr>
            <a:lvl3pPr marL="0" indent="0">
              <a:buNone/>
              <a:defRPr b="1"/>
            </a:lvl3pPr>
            <a:lvl4pPr marL="0" indent="0">
              <a:buNone/>
              <a:defRPr b="1"/>
            </a:lvl4pPr>
            <a:lvl5pPr marL="0" indent="0"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31A70DCD-C870-4287-81E6-19BC8C8C5A5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7965475" y="217713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81706D-79BA-4127-9D29-493107D7D9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5475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815F6B20-D147-4A52-8D1A-42E532DEFD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965475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42700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13CA1F-1480-49ED-8933-67631F44A4EF}"/>
              </a:ext>
            </a:extLst>
          </p:cNvPr>
          <p:cNvCxnSpPr>
            <a:cxnSpLocks/>
          </p:cNvCxnSpPr>
          <p:nvPr userDrawn="1"/>
        </p:nvCxnSpPr>
        <p:spPr>
          <a:xfrm>
            <a:off x="7965475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85586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40CBC96-8412-44B8-335A-869AA5057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671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CBC96-8412-44B8-335A-869AA5057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20000" y="0"/>
            <a:ext cx="549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7" y="240213"/>
            <a:ext cx="51840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5184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2 lines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5183999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3" y="1207052"/>
            <a:ext cx="5184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0256591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50A930-AF8E-DC7F-AB25-6B21A22F5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41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0A930-AF8E-DC7F-AB25-6B21A22F5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33372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683763"/>
            <a:ext cx="33372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69600" y="0"/>
            <a:ext cx="73429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3337200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5688178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553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5151970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316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F01F18-084D-0037-62E9-8A92594CE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219734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77876589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3F623C3-C5B5-F4BE-96B5-7E8D9EC5F0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240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50F96ECF-6DAD-800C-BCD8-FBBA742832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43585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ED03D981-7F98-57E0-F999-D71B873F1B2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9930" y="535710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53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1F9589C-100E-12E6-34B5-5228277CB99E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Pladsholder til slidenummer 6">
            <a:extLst>
              <a:ext uri="{FF2B5EF4-FFF2-40B4-BE49-F238E27FC236}">
                <a16:creationId xmlns:a16="http://schemas.microsoft.com/office/drawing/2014/main" id="{EAF0ACDC-9961-F377-913B-329491A8BDD1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0265AFEB-9F29-2C12-2B66-F6A395F5D11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7240" y="2473037"/>
            <a:ext cx="4073235" cy="3800765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3144865D-4B38-00B5-3CDF-15BD0289CCE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41275" y="4410363"/>
            <a:ext cx="6964218" cy="1870364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2B49A7F9-AB5D-F6A0-140B-DC56F15DA64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638967" y="2473037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0C3C74C0-FF5B-3772-2F34-303E8197709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769930" y="2473037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2714723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0EC43D7-EFE0-2343-FA7A-BBF24C06D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1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EC43D7-EFE0-2343-FA7A-BBF24C06D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BF60633-324E-44A8-9D97-FA602AA6E7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5202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AAF6E80-2AE8-509F-782D-1B0F8EEF1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03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AF6E80-2AE8-509F-782D-1B0F8EEF1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id="{84705215-85BF-4037-8F1F-60423D1500F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dirty="0"/>
              <a:t>Click to add title in max two lines, if two lines, delete subtitle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F4E4B8A-738A-49D8-82C2-F98D597CC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4832D-E38B-4FF8-910F-63F742D91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3C99DE-E8E7-470D-B715-106F7920B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F4E1CA-F7A5-46BD-8840-7FDE4E1671E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CFC550F-0103-DA63-F8B7-B2F5746B6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95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FC550F-0103-DA63-F8B7-B2F5746B6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43040" y="1215574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b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e on the right side of the scre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.</a:t>
            </a:r>
            <a:endParaRPr lang="da-DK"/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10404055" y="1483655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2302" y="1215574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da-DK" alt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and layouts</a:t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.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.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49121" y="2924778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49662" y="2201595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3901" t="45142" r="62601" b="9046"/>
          <a:stretch/>
        </p:blipFill>
        <p:spPr>
          <a:xfrm>
            <a:off x="10404055" y="2726384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55543" y="3915330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55543" y="5243483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460076" y="3536124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85407" y="1215574"/>
            <a:ext cx="2358243" cy="4755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Header and footer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and slide elements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. 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also where you’ll Find the new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ck icon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For guidance on how to use our new icons, go to our brand guidelines in the Falck Brand Portal.</a:t>
            </a:r>
            <a:endParaRPr lang="da-DK"/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74675" y="312083"/>
            <a:ext cx="110743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rtl="0"/>
            <a:r>
              <a:rPr lang="da-DK" sz="28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and tricks – your user guide</a:t>
            </a:r>
            <a:endParaRPr lang="da-DK"/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52" y="424340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855542" y="4678942"/>
            <a:ext cx="475428" cy="176762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355E5A9-A789-447E-83E7-9F167F2E41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E598E2B2-BC68-46C6-BFC0-A749474A5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3ECE9A96-886A-4574-8BCF-07A9134A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CA2E21-8E36-C137-3BC2-B1713FB916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287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CA2E21-8E36-C137-3BC2-B1713FB91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If you see any </a:t>
            </a:r>
            <a:r>
              <a:rPr lang="da-DK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da-DK" sz="4400" b="0" i="0" noProof="0" dirty="0">
                <a:solidFill>
                  <a:schemeClr val="bg1"/>
                </a:solidFill>
              </a:rPr>
              <a:t>one</a:t>
            </a:r>
            <a:r>
              <a:rPr lang="da-DK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da-DK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a-DK" sz="13800" b="1" i="1" noProof="0" dirty="0">
                <a:solidFill>
                  <a:schemeClr val="bg1"/>
                </a:solidFill>
              </a:rPr>
              <a:t>Do not use </a:t>
            </a:r>
            <a:endParaRPr lang="da-DK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da-DK"/>
          </a:p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dark re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25AC969-E52A-19F3-046F-5708D86EB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881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5AC969-E52A-19F3-046F-5708D86EB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" name="Logo white">
            <a:extLst>
              <a:ext uri="{FF2B5EF4-FFF2-40B4-BE49-F238E27FC236}">
                <a16:creationId xmlns:a16="http://schemas.microsoft.com/office/drawing/2014/main" id="{5EA349C7-691C-E943-9E5D-D9E3A0DAAD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31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7A4D84-D2EF-A5BE-1BAD-B27904CA8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53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D84-D2EF-A5BE-1BAD-B27904CA8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562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DE2D5F-7A51-027E-5D15-3B966C64D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96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DE2D5F-7A51-027E-5D15-3B966C64D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88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88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589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BD81CB-E9C4-4E4E-28B9-6E87222A4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74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BD81CB-E9C4-4E4E-28B9-6E87222A4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4C95292-CA88-4F91-85C3-4AD11D5A4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Logo white">
            <a:extLst>
              <a:ext uri="{FF2B5EF4-FFF2-40B4-BE49-F238E27FC236}">
                <a16:creationId xmlns:a16="http://schemas.microsoft.com/office/drawing/2014/main" id="{4371357E-DE8E-8043-AA98-43C7089B5A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052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84CEBAC-6680-E7F0-79CB-750156DAA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663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CEBAC-6680-E7F0-79CB-750156DAA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695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E2576-DF23-47DF-9AF1-02304B85C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285047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16" imgH="216" progId="TCLayout.ActiveDocument.1">
                  <p:embed/>
                </p:oleObj>
              </mc:Choice>
              <mc:Fallback>
                <p:oleObj name="think-cell Slide" r:id="rId46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E2576-DF23-47DF-9AF1-02304B85C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99713C-685B-401E-9EFB-E85B19A82A3F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a-DK" sz="27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Background shadow" descr="A close up of a logo&#10;&#10;Description automatically generated">
            <a:extLst>
              <a:ext uri="{FF2B5EF4-FFF2-40B4-BE49-F238E27FC236}">
                <a16:creationId xmlns:a16="http://schemas.microsoft.com/office/drawing/2014/main" id="{BADC3658-FFE6-4239-9046-253361BE2C8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pic>
        <p:nvPicPr>
          <p:cNvPr id="12" name="Logo red">
            <a:extLst>
              <a:ext uri="{FF2B5EF4-FFF2-40B4-BE49-F238E27FC236}">
                <a16:creationId xmlns:a16="http://schemas.microsoft.com/office/drawing/2014/main" id="{B2196BCC-3AFC-4D08-865F-46116BE1BB9C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675" y="1916113"/>
            <a:ext cx="10728000" cy="398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Level 1</a:t>
            </a:r>
            <a:endParaRPr lang="da-DK"/>
          </a:p>
          <a:p>
            <a:pPr lvl="1"/>
            <a:r>
              <a:rPr lang="da-DK" noProof="0" dirty="0"/>
              <a:t>Level 2</a:t>
            </a:r>
            <a:endParaRPr lang="da-DK"/>
          </a:p>
          <a:p>
            <a:pPr lvl="2"/>
            <a:r>
              <a:rPr lang="da-DK" noProof="0" dirty="0"/>
              <a:t>Level 3</a:t>
            </a:r>
            <a:endParaRPr lang="da-DK"/>
          </a:p>
          <a:p>
            <a:pPr lvl="3"/>
            <a:r>
              <a:rPr lang="da-DK" noProof="0" dirty="0"/>
              <a:t>Level 4, Header</a:t>
            </a:r>
            <a:endParaRPr lang="da-DK"/>
          </a:p>
          <a:p>
            <a:pPr lvl="4"/>
            <a:r>
              <a:rPr lang="da-DK" noProof="0" dirty="0"/>
              <a:t>Level 5, Body</a:t>
            </a:r>
            <a:endParaRPr lang="da-DK"/>
          </a:p>
          <a:p>
            <a:pPr lvl="5"/>
            <a:r>
              <a:rPr lang="da-DK" noProof="0" dirty="0"/>
              <a:t>Level 6</a:t>
            </a:r>
            <a:endParaRPr lang="da-DK"/>
          </a:p>
          <a:p>
            <a:pPr lvl="6"/>
            <a:r>
              <a:rPr lang="da-DK" noProof="0" dirty="0"/>
              <a:t>Level 7, Small Header</a:t>
            </a:r>
            <a:endParaRPr lang="da-DK"/>
          </a:p>
          <a:p>
            <a:pPr lvl="7"/>
            <a:r>
              <a:rPr lang="da-DK" noProof="0" dirty="0"/>
              <a:t>Level 8, Small Body</a:t>
            </a:r>
            <a:endParaRPr lang="da-DK"/>
          </a:p>
          <a:p>
            <a:pPr lvl="8"/>
            <a:r>
              <a:rPr lang="da-DK" noProof="0" dirty="0"/>
              <a:t>Level 9, Infographic</a:t>
            </a:r>
            <a:endParaRPr lang="da-DK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683763"/>
            <a:ext cx="1072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noProof="0" dirty="0"/>
              <a:t>Click here to edit the typography in the master</a:t>
            </a:r>
            <a:endParaRPr lang="da-DK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7595FF3-D3E1-494C-8786-F161DDDC59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4514" y="6858000"/>
            <a:ext cx="45719" cy="457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FA31F1C-497E-4470-8FCF-70E627F77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4674" y="6005475"/>
            <a:ext cx="8905876" cy="176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1" r:id="rId9"/>
    <p:sldLayoutId id="2147483770" r:id="rId10"/>
    <p:sldLayoutId id="2147483737" r:id="rId11"/>
    <p:sldLayoutId id="2147483772" r:id="rId12"/>
    <p:sldLayoutId id="2147483797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56" r:id="rId25"/>
    <p:sldLayoutId id="2147483786" r:id="rId26"/>
    <p:sldLayoutId id="2147483755" r:id="rId27"/>
    <p:sldLayoutId id="2147483808" r:id="rId28"/>
    <p:sldLayoutId id="2147483789" r:id="rId29"/>
    <p:sldLayoutId id="2147483790" r:id="rId30"/>
    <p:sldLayoutId id="2147483794" r:id="rId31"/>
    <p:sldLayoutId id="2147483793" r:id="rId32"/>
    <p:sldLayoutId id="2147483792" r:id="rId33"/>
    <p:sldLayoutId id="2147483791" r:id="rId34"/>
    <p:sldLayoutId id="2147483787" r:id="rId35"/>
    <p:sldLayoutId id="2147483788" r:id="rId36"/>
    <p:sldLayoutId id="2147483805" r:id="rId37"/>
    <p:sldLayoutId id="2147483807" r:id="rId38"/>
    <p:sldLayoutId id="2147483806" r:id="rId39"/>
    <p:sldLayoutId id="2147483743" r:id="rId40"/>
    <p:sldLayoutId id="2147483762" r:id="rId41"/>
    <p:sldLayoutId id="2147483751" r:id="rId42"/>
  </p:sldLayoutIdLst>
  <p:hf hdr="0"/>
  <p:txStyles>
    <p:titleStyle>
      <a:lvl1pPr algn="l" defTabSz="914400" rtl="0" eaLnBrk="1" latinLnBrk="0" hangingPunct="1">
        <a:lnSpc>
          <a:spcPct val="97000"/>
        </a:lnSpc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4" userDrawn="1">
          <p15:clr>
            <a:srgbClr val="F26B43"/>
          </p15:clr>
        </p15:guide>
        <p15:guide id="5" orient="horz" pos="3715" userDrawn="1">
          <p15:clr>
            <a:srgbClr val="F26B43"/>
          </p15:clr>
        </p15:guide>
        <p15:guide id="6" orient="horz" pos="1207" userDrawn="1">
          <p15:clr>
            <a:srgbClr val="F26B43"/>
          </p15:clr>
        </p15:guide>
        <p15:guide id="7" pos="362" userDrawn="1">
          <p15:clr>
            <a:srgbClr val="000000"/>
          </p15:clr>
        </p15:guide>
        <p15:guide id="8" pos="7315" userDrawn="1">
          <p15:clr>
            <a:srgbClr val="000000"/>
          </p15:clr>
        </p15:guide>
        <p15:guide id="9" pos="7120" userDrawn="1">
          <p15:clr>
            <a:srgbClr val="000000"/>
          </p15:clr>
        </p15:guide>
        <p15:guide id="10" pos="6447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6.xml"/><Relationship Id="rId7" Type="http://schemas.openxmlformats.org/officeDocument/2006/relationships/oleObject" Target="../embeddings/oleObject6.bin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6568257-D596-0F41-5833-6C8B11C313A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7581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8" imgH="408" progId="TCLayout.ActiveDocument.1">
                  <p:embed/>
                </p:oleObj>
              </mc:Choice>
              <mc:Fallback>
                <p:oleObj name="think-cell Slide" r:id="rId7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568257-D596-0F41-5833-6C8B11C31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4D4859-A505-4703-961A-8084E9502A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674" y="2325841"/>
            <a:ext cx="11284173" cy="2484000"/>
          </a:xfrm>
        </p:spPr>
        <p:txBody>
          <a:bodyPr/>
          <a:lstStyle/>
          <a:p>
            <a:r>
              <a:rPr lang="da-DK" sz="2400" dirty="0"/>
              <a:t>Eftersyn af brandtekniske installationer og passiv brandsikring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F8F633E7-A8AC-44AC-AC04-08AFA87B484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Sikkerhed i Almene Bolig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3AF528-04F9-4DED-8104-E036B75D2E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5AAEB4-FF8E-449A-A698-8431202CD1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C39B4-99BF-4B61-A216-4A1EB9C2C8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DE3687E0-91CA-45EC-8FF3-6055CCBDDAA1}"/>
              </a:ext>
            </a:extLst>
          </p:cNvPr>
          <p:cNvSpPr txBox="1"/>
          <p:nvPr/>
        </p:nvSpPr>
        <p:spPr>
          <a:xfrm>
            <a:off x="422476" y="6464461"/>
            <a:ext cx="750039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800" dirty="0"/>
              <a:t>Brandteknisk Rådgivning :</a:t>
            </a:r>
            <a:r>
              <a:rPr lang="da-DK" sz="800"/>
              <a:t>Thomas Larsen </a:t>
            </a:r>
            <a:endParaRPr lang="da-DK" sz="800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6449685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055047-81DA-41B2-8342-E251426AE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6D7D18-21BB-4A23-9E85-D2513516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510540"/>
            <a:ext cx="10728000" cy="533223"/>
          </a:xfrm>
          <a:solidFill>
            <a:schemeClr val="tx2"/>
          </a:solidFill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a-DK" sz="2300" dirty="0"/>
              <a:t> Brandventilation i luftsluse over 22 meter (ABV)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A3FA2374-BFAC-2DBE-D43D-DC26CCC3968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-3" b="10519"/>
          <a:stretch>
            <a:fillRect/>
          </a:stretch>
        </p:blipFill>
        <p:spPr>
          <a:xfrm>
            <a:off x="8487460" y="1270938"/>
            <a:ext cx="2281820" cy="2722328"/>
          </a:xfrm>
          <a:prstGeom prst="rect">
            <a:avLst/>
          </a:prstGeom>
          <a:noFill/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5EFEEFDC-8C36-CA97-E2D7-D2D80883C39F}"/>
              </a:ext>
            </a:extLst>
          </p:cNvPr>
          <p:cNvSpPr txBox="1"/>
          <p:nvPr/>
        </p:nvSpPr>
        <p:spPr>
          <a:xfrm>
            <a:off x="574674" y="1639439"/>
            <a:ext cx="7030800" cy="42581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/>
              <a:t>Brandventilationsanlægget installeres i luftsluse for at hindre røg- og brandspredning til flugtvejstrappe. Brandventilationsanlægget består af automatiske oplukkelige facadeelementer i luftslusen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a-DK" sz="1600" b="1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b="1" dirty="0"/>
              <a:t>Automatisk brandsikringsanlæg skal afprøves iht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Udarbejdet DKV-plan. 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Projekteringsstandarten. 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R18 vejledning til kapitel 5- Brand, kapitel 7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b="1" dirty="0"/>
              <a:t>BR18 vejledning til kapitel 5- Brand, kapitel 7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Månedlig eftersyn af kontrolpanel for anlæg med selvstændig detektering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Årligt serviceeftersyn udført af ABV-installationsvirksomhed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Årlig akkreditering.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/>
              <a:t>   - Gælder kun ABV-anlæg fra efter 1. august 2014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/>
              <a:t>   - Anlæg betinget i byggesag i BR18.</a:t>
            </a:r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BB173B0-9CDF-3738-E5F7-FE810D09D5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78505" y="6653389"/>
            <a:ext cx="1248339" cy="168762"/>
          </a:xfrm>
        </p:spPr>
        <p:txBody>
          <a:bodyPr vert="horz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r>
              <a:rPr lang="da-DK" kern="1200" dirty="0">
                <a:latin typeface="+mn-lt"/>
                <a:ea typeface="+mn-ea"/>
                <a:cs typeface="+mn-cs"/>
              </a:rPr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C85F65B-716C-2510-5F2D-F9FC8657A9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74674" y="6473389"/>
            <a:ext cx="334394" cy="180000"/>
          </a:xfrm>
        </p:spPr>
        <p:txBody>
          <a:bodyPr vert="horz" lIns="0" tIns="0" rIns="0" bIns="0" rtlCol="0" anchor="ctr" anchorCtr="0">
            <a:normAutofit/>
          </a:bodyPr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10</a:t>
            </a:fld>
            <a:endParaRPr lang="da-DK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1D496D2B-557E-46F9-D2B5-4094894780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587" y="6392972"/>
            <a:ext cx="1608938" cy="340834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C2DE86EC-20CA-4EB4-6E3D-904F05139F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5119" y="4062567"/>
            <a:ext cx="3413306" cy="2170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2982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203DF6-7B0E-1977-7AF4-F23B749513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AE71669-9B09-4EDC-B5A4-B6B806A226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BB013B-6F5E-5F12-8A0C-410D01255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518160"/>
            <a:ext cx="10728000" cy="525603"/>
          </a:xfrm>
          <a:noFill/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a-DK" sz="2300" dirty="0"/>
              <a:t> Røgudluftning-RU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718A111A-B7E9-51BF-D75A-A1D4D8093F28}"/>
              </a:ext>
            </a:extLst>
          </p:cNvPr>
          <p:cNvSpPr txBox="1"/>
          <p:nvPr/>
        </p:nvSpPr>
        <p:spPr>
          <a:xfrm>
            <a:off x="574674" y="1408471"/>
            <a:ext cx="7030800" cy="45970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/>
              <a:t>Sikre redningsberedskabets indsatsmulighed ved at få fjernet røg fra de primære indsatsveje i en bygning, hvor de primære indsatsveje hovedsageligt er trapperum.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b="1" dirty="0"/>
              <a:t>Årligt serviceeftersyn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Manuelt oplukkelige røgudluftningsåbninger åbnes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Røgudluftningsåbninger åbner ved successiv aktivering af alle aktiveringstrykkene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Markering og skiltning er intakt.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77B90D8-0699-24B3-489B-558FFC121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60136" y="6649425"/>
            <a:ext cx="1283064" cy="168762"/>
          </a:xfrm>
        </p:spPr>
        <p:txBody>
          <a:bodyPr vert="horz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r>
              <a:rPr lang="da-DK" kern="1200" dirty="0">
                <a:latin typeface="+mn-lt"/>
                <a:ea typeface="+mn-ea"/>
                <a:cs typeface="+mn-cs"/>
              </a:rPr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0A88601-E2B8-C6B8-5A1B-003F5E24FF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74674" y="6473389"/>
            <a:ext cx="334394" cy="180000"/>
          </a:xfrm>
        </p:spPr>
        <p:txBody>
          <a:bodyPr vert="horz" lIns="0" tIns="0" rIns="0" bIns="0" rtlCol="0" anchor="ctr" anchorCtr="0">
            <a:normAutofit/>
          </a:bodyPr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11</a:t>
            </a:fld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24C1C429-CA25-7611-2E78-2E2532DD0DE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966" b="678"/>
          <a:stretch>
            <a:fillRect/>
          </a:stretch>
        </p:blipFill>
        <p:spPr>
          <a:xfrm>
            <a:off x="8810272" y="1420931"/>
            <a:ext cx="2008737" cy="200806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0DC8EB9-4012-0648-56D6-C14F649DD1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6642" y="3806168"/>
            <a:ext cx="2008737" cy="1862305"/>
          </a:xfrm>
          <a:prstGeom prst="rect">
            <a:avLst/>
          </a:prstGeom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54134CFB-CC14-FA0D-4CA7-5BE3E8F4EE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800" y="63929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5097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AB29C31-621E-BC53-29B0-5C5879CD7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514773"/>
            <a:ext cx="10727999" cy="528990"/>
          </a:xfrm>
          <a:solidFill>
            <a:srgbClr val="FF0000"/>
          </a:solidFill>
        </p:spPr>
        <p:txBody>
          <a:bodyPr anchor="ctr"/>
          <a:lstStyle/>
          <a:p>
            <a:r>
              <a:rPr lang="da-DK" sz="2300" dirty="0"/>
              <a:t>Flugtvejs- og panikbelysning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62308EB-B89C-57EC-2DCB-ACDFC0715F3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4B2CBBF-846A-7FE5-808D-FEF3DC98FE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55353" y="6660467"/>
            <a:ext cx="1294638" cy="168762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A4A3100-E0E7-AB8A-CBEB-A29F8FB592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37DAD6C4-3623-ECB8-CD61-6574462E7730}"/>
              </a:ext>
            </a:extLst>
          </p:cNvPr>
          <p:cNvSpPr txBox="1"/>
          <p:nvPr/>
        </p:nvSpPr>
        <p:spPr>
          <a:xfrm>
            <a:off x="574674" y="1408471"/>
            <a:ext cx="7206905" cy="45970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b="1" dirty="0"/>
              <a:t>Projektering jf. BR18 vejledning til kapitel 5- Brand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S/EN 1838 Belysning – Nødbelysning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S/EN 50172 Belysningssystemer til nødudgange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BI Vejledning nr. 34. Sikkerhedsbelysning.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b="1" dirty="0"/>
              <a:t>Kontrol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da-DK" sz="1600" dirty="0"/>
              <a:t>Der skal månedligt laves funktionskontrol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da-DK" sz="1600" dirty="0"/>
              <a:t>Der skal hvert halve år laves kontrol af backup strømforsyning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da-DK" sz="1600" dirty="0"/>
              <a:t>Hvert 2. år skal der laves serviceeftersyn af autoriseret elinstallatørvirksomhed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da-DK" sz="1600" dirty="0"/>
              <a:t>Der skal hvert fjerde år laves funktionsafprøvning af akkrediteret virksomhed.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Anlæg installeret efter DBI-retningslinje 234 1. udgave, december 2022 </a:t>
            </a:r>
          </a:p>
          <a:p>
            <a:r>
              <a:rPr lang="da-DK" sz="1600" dirty="0"/>
              <a:t>     skal akkrediteres årligt jf. appendiks A afsnit 3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/>
              <a:t>Andre anlæg før 2018 skal typisk ikke akkrediteres.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BBF97D73-7297-F6E0-69A1-6E5DC3FB68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45061" y="147666"/>
            <a:ext cx="4311987" cy="3104895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43B18DB-56FA-F1C6-C773-994FBB7914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009" y="6404014"/>
            <a:ext cx="1608938" cy="340834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D299B85-2C17-2248-B6FA-AF546FE69A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31459" y="3281334"/>
            <a:ext cx="2471213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170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78B432-C960-C61F-324D-17875B39F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4232E929-0052-F2E7-95BC-21938380539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6902FCC-00D1-7C1F-984A-A4C3226F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80060"/>
            <a:ext cx="10727999" cy="563703"/>
          </a:xfrm>
          <a:noFill/>
        </p:spPr>
        <p:txBody>
          <a:bodyPr anchor="ctr"/>
          <a:lstStyle/>
          <a:p>
            <a:r>
              <a:rPr lang="da-DK" sz="2300" dirty="0"/>
              <a:t> Stigrør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3ADD334-15C1-DBFC-76B6-60B600DB867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FF8946E-7A5A-777E-4D8F-A5434AACD12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64034" y="6653389"/>
            <a:ext cx="1277276" cy="191798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30AEEBC-432B-D4C1-95D4-B5B0C27AC58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C11FB208-39EB-5092-B69F-E06B7E6FC97B}"/>
              </a:ext>
            </a:extLst>
          </p:cNvPr>
          <p:cNvSpPr txBox="1"/>
          <p:nvPr/>
        </p:nvSpPr>
        <p:spPr>
          <a:xfrm>
            <a:off x="574674" y="1408471"/>
            <a:ext cx="10727998" cy="45970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4807219A-9996-A272-84FA-509D3BC8F69D}"/>
              </a:ext>
            </a:extLst>
          </p:cNvPr>
          <p:cNvSpPr txBox="1"/>
          <p:nvPr/>
        </p:nvSpPr>
        <p:spPr>
          <a:xfrm>
            <a:off x="574674" y="1335277"/>
            <a:ext cx="10727998" cy="4570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600" dirty="0"/>
              <a:t>Funktionen for et stigrør er, at redningsberedskabet kan fremføre slukningsvand i bygnings primære indsatsveje, men kan også  installeres for at fremføre slukningsvand til andre lokaliteter. </a:t>
            </a:r>
          </a:p>
          <a:p>
            <a:endParaRPr lang="da-DK" sz="1600" dirty="0"/>
          </a:p>
          <a:p>
            <a:pPr>
              <a:spcAft>
                <a:spcPts val="600"/>
              </a:spcAft>
            </a:pPr>
            <a:r>
              <a:rPr lang="da-DK" sz="1600" b="1" dirty="0"/>
              <a:t>Projekteri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BI-vejledning 38 1. udgave 2014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Eksempelsamling 2012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Gældende byggesag med evt. betinget DKV-pla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  <a:p>
            <a:pPr>
              <a:spcAft>
                <a:spcPts val="600"/>
              </a:spcAft>
            </a:pPr>
            <a:r>
              <a:rPr lang="da-DK" sz="1600" b="1" dirty="0"/>
              <a:t>Kontrol BR18 vejledning til kapitel 5- Brand, kapitel 7 med rettelsesblad 1.januar 2024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Der skal udføres halvårligt kontrol af udtagsventiler og slutdæksler. </a:t>
            </a:r>
          </a:p>
          <a:p>
            <a:pPr>
              <a:spcAft>
                <a:spcPts val="600"/>
              </a:spcAft>
            </a:pPr>
            <a:r>
              <a:rPr lang="da-DK" sz="1600" dirty="0"/>
              <a:t>     ( Er slutdæksler låst kan kontrol undlades.)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da-DK" sz="1600" dirty="0"/>
              <a:t>Der skal udføres årlig service.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da-DK" sz="1600" dirty="0"/>
              <a:t>Hvert 10. år skal der laves trykprøvning på 16 bar. 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Stigrør monteret og godkendt før 2018 kan trykprøves efter tidligere gældende beskrivelse i byggesagen eller </a:t>
            </a:r>
          </a:p>
          <a:p>
            <a:r>
              <a:rPr lang="da-DK" sz="1600" dirty="0"/>
              <a:t>     udarbejdet DKV-plan.</a:t>
            </a:r>
          </a:p>
          <a:p>
            <a:r>
              <a:rPr lang="da-DK" sz="1600" dirty="0"/>
              <a:t>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0A58CDED-1F3A-7324-1BB2-A4663BE879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012" y="6398399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60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57465A-27D8-E81A-9906-52E92A30A2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7241422-1D0A-2E58-2236-6822EBBD1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80060"/>
            <a:ext cx="10727999" cy="563703"/>
          </a:xfrm>
          <a:solidFill>
            <a:schemeClr val="tx2"/>
          </a:solidFill>
        </p:spPr>
        <p:txBody>
          <a:bodyPr anchor="ctr"/>
          <a:lstStyle/>
          <a:p>
            <a:r>
              <a:rPr lang="da-DK" sz="2300" dirty="0"/>
              <a:t> Brandmandselevator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D7F3F60-D260-C44C-91A0-8D7E2971360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7EEB278-D063-E302-4A94-1375A671F0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525C891-12F8-C50C-2B5E-C9808C8AD35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4</a:t>
            </a:fld>
            <a:endParaRPr lang="da-DK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87DACF4D-E0A2-D846-11F5-7CF6E30F0797}"/>
              </a:ext>
            </a:extLst>
          </p:cNvPr>
          <p:cNvSpPr txBox="1"/>
          <p:nvPr/>
        </p:nvSpPr>
        <p:spPr>
          <a:xfrm>
            <a:off x="574674" y="1408471"/>
            <a:ext cx="10727998" cy="45970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a-DK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1600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B7B2FECB-8676-4C5D-7204-892959A30A83}"/>
              </a:ext>
            </a:extLst>
          </p:cNvPr>
          <p:cNvSpPr txBox="1"/>
          <p:nvPr/>
        </p:nvSpPr>
        <p:spPr>
          <a:xfrm>
            <a:off x="574674" y="1335277"/>
            <a:ext cx="1072799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a-DK" sz="1600" b="1" dirty="0"/>
              <a:t>Før 1. januar 2024</a:t>
            </a:r>
          </a:p>
          <a:p>
            <a:endParaRPr lang="da-DK" sz="1600" b="1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Kvartalsvis kontrol og eftersyn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Årligt akkrediteret funktionsafprøv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  <a:p>
            <a:pPr>
              <a:spcAft>
                <a:spcPts val="600"/>
              </a:spcAft>
            </a:pPr>
            <a:r>
              <a:rPr lang="da-DK" sz="1600" b="1" dirty="0"/>
              <a:t>Efter 1. januar 2024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b="1" dirty="0">
                <a:solidFill>
                  <a:srgbClr val="0070C0"/>
                </a:solidFill>
              </a:rPr>
              <a:t>Kontrol udgået i BR18 vejledning til kapitel 5- Brand.</a:t>
            </a:r>
            <a:r>
              <a:rPr lang="da-DK" sz="1600" b="1" dirty="0"/>
              <a:t> 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E5A75B-D40D-2FE2-C7B5-CB3FC9F000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4034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98862E-C327-D35B-B05A-22AFAE449C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2036" y="3171016"/>
            <a:ext cx="5760000" cy="515968"/>
          </a:xfrm>
        </p:spPr>
        <p:txBody>
          <a:bodyPr/>
          <a:lstStyle/>
          <a:p>
            <a:r>
              <a:rPr lang="da-DK" sz="2400" dirty="0"/>
              <a:t>Passiv brandsikring 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70C3DB7-1FF0-5E6D-C11D-62208EFB9AE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111207A-227D-4B78-8DFE-80BE955936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097D1D1-599C-BF09-A83B-BC26EAE26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556233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6B3BB-0A5F-1E17-BE2F-7B6AF3DCC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9FCD7F7-32D9-677F-05AD-12DF879FE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95300"/>
            <a:ext cx="10727999" cy="548463"/>
          </a:xfrm>
          <a:solidFill>
            <a:schemeClr val="tx2"/>
          </a:solidFill>
        </p:spPr>
        <p:txBody>
          <a:bodyPr anchor="ctr"/>
          <a:lstStyle/>
          <a:p>
            <a:r>
              <a:rPr lang="da-DK" sz="2300" dirty="0"/>
              <a:t>Klassifikation af byggevar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E0F27A3D-C287-E5FC-0508-4AC47996B3A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7F5EC15-521E-E322-F11D-40C00C740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A94FA83-A048-43AB-0C84-6B3DE7CAAB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6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9C18850-0B32-9A0A-3CA7-1567D93A2C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123C9B3-96BB-160A-9B41-4945C50823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4001399"/>
            <a:ext cx="4092295" cy="1432684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07F6DA86-771D-14F3-3956-6D286E9531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674" y="1333099"/>
            <a:ext cx="5395428" cy="2225233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533937BC-BC82-DDC5-5D57-822ED5E4BF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5349" y="1333099"/>
            <a:ext cx="4625741" cy="1905165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4E552DE1-77BC-09A1-5726-B9153202EF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5349" y="4124778"/>
            <a:ext cx="4732430" cy="2438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5695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7F20FE-197E-7DB2-DE05-DBD82500C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3472A624-DD89-3D86-41B7-FF2AAA2DAB8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0064925-81A2-259C-37FF-3276BED7B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95300"/>
            <a:ext cx="10727999" cy="548463"/>
          </a:xfrm>
          <a:noFill/>
        </p:spPr>
        <p:txBody>
          <a:bodyPr anchor="ctr"/>
          <a:lstStyle/>
          <a:p>
            <a:r>
              <a:rPr lang="da-DK" sz="2300" dirty="0"/>
              <a:t> Kontrol af passiv brandsikring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D5B4587E-DDDB-41CF-F024-FD9025E3CB1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039626E-F37B-B9A1-2AD8-D4A2C24F19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C03EA5A-2FE6-8098-DF6F-9BA1B2D8D7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7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1CA155D-B25F-E1CC-CC8D-DBE89A1CD0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6850EA1A-5316-EB30-061F-47060CDD459C}"/>
              </a:ext>
            </a:extLst>
          </p:cNvPr>
          <p:cNvSpPr txBox="1"/>
          <p:nvPr/>
        </p:nvSpPr>
        <p:spPr>
          <a:xfrm>
            <a:off x="574674" y="1423686"/>
            <a:ext cx="10727999" cy="4616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Udarbejdet DKV-plan eller DV-plan </a:t>
            </a:r>
          </a:p>
          <a:p>
            <a:pPr marL="285750" indent="-285750" algn="l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Kontrollen skal logføres i 5 år jf. BR18 vejledning til kapitel 5- Brand, kapitel 7 punkt 7.4.3</a:t>
            </a:r>
          </a:p>
          <a:p>
            <a:pPr algn="l">
              <a:spcAft>
                <a:spcPts val="600"/>
              </a:spcAft>
            </a:pPr>
            <a:endParaRPr lang="da-DK" sz="1600" b="1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Kontrol af synlige og tilgængelige forhold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randsektions- og brandceller adskillelser, herunder at alle adskillende konstruktioner, installationer og brandtætninger er intakte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Overflader på gulv, væg og loft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randmæssige klassificerede vinduespartier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randisolering og brandtætninger af kanal og rørføringer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Tagdækning og tagisolering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randdøre, brandporte og flugtvejsdøre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Redningsberedskabets brandveje og adgangsveje efterses.</a:t>
            </a:r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/>
            <a:endParaRPr lang="da-DK" sz="1600" b="1" dirty="0"/>
          </a:p>
        </p:txBody>
      </p:sp>
    </p:spTree>
    <p:extLst>
      <p:ext uri="{BB962C8B-B14F-4D97-AF65-F5344CB8AC3E}">
        <p14:creationId xmlns:p14="http://schemas.microsoft.com/office/powerpoint/2010/main" val="3761923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629A1C-F43D-F973-5F71-5DE4669D1E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3761145-098B-1B47-474E-2BD30AB19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518160"/>
            <a:ext cx="10727999" cy="525603"/>
          </a:xfrm>
          <a:solidFill>
            <a:schemeClr val="tx2"/>
          </a:solidFill>
        </p:spPr>
        <p:txBody>
          <a:bodyPr anchor="ctr"/>
          <a:lstStyle/>
          <a:p>
            <a:r>
              <a:rPr lang="da-DK" sz="2300" dirty="0"/>
              <a:t> Kontrol af gennemføringer 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5F4E521-025D-98E4-11E2-E54D34F374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A8948A0-B716-D273-F4F9-77E0450F8E0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BD9AECB-D7DA-2486-E14C-EFF0E0ABF1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8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39333847-0F1F-DD81-941B-007CA45CE8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BBC9B076-D2C0-8B76-8FCC-D8E19A1A6DE1}"/>
              </a:ext>
            </a:extLst>
          </p:cNvPr>
          <p:cNvSpPr txBox="1"/>
          <p:nvPr/>
        </p:nvSpPr>
        <p:spPr>
          <a:xfrm>
            <a:off x="574674" y="1423686"/>
            <a:ext cx="10658555" cy="2754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a-DK" sz="1600" dirty="0"/>
              <a:t>Gennemføringer i brandmæssige adskillelser af f.eks. kabler, rør og ventilationskanaler skal udføres, så adskillelsernes brandmæssige egenskaber ikke forringes.</a:t>
            </a:r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Til kontrol anvendes følgende:</a:t>
            </a:r>
          </a:p>
          <a:p>
            <a:pPr marL="285750" indent="-285750" algn="l">
              <a:spcAft>
                <a:spcPts val="600"/>
              </a:spcAft>
              <a:buFontTx/>
              <a:buChar char="-"/>
            </a:pPr>
            <a:r>
              <a:rPr lang="da-DK" sz="1600" dirty="0"/>
              <a:t>Byggesager fra før 1998.</a:t>
            </a:r>
          </a:p>
          <a:p>
            <a:pPr marL="285750" indent="-285750" algn="l">
              <a:spcAft>
                <a:spcPts val="600"/>
              </a:spcAft>
              <a:buFontTx/>
              <a:buChar char="-"/>
            </a:pPr>
            <a:r>
              <a:rPr lang="da-DK" sz="1600" dirty="0"/>
              <a:t>DBI brandtætninger af gennembrydninger for installationer 1. udgave 1998.</a:t>
            </a:r>
          </a:p>
          <a:p>
            <a:pPr marL="285750" indent="-285750" algn="l">
              <a:spcAft>
                <a:spcPts val="600"/>
              </a:spcAft>
              <a:buFontTx/>
              <a:buChar char="-"/>
            </a:pPr>
            <a:r>
              <a:rPr lang="da-DK" sz="1600" dirty="0"/>
              <a:t>DBI vejledning 31 2. udgave 2005.</a:t>
            </a:r>
          </a:p>
          <a:p>
            <a:pPr marL="285750" indent="-285750" algn="l">
              <a:spcAft>
                <a:spcPts val="600"/>
              </a:spcAft>
              <a:buFontTx/>
              <a:buChar char="-"/>
            </a:pPr>
            <a:r>
              <a:rPr lang="da-DK" sz="1600" dirty="0"/>
              <a:t>BR18 vejledning til kapitel 5- Brand, kapitel 7. </a:t>
            </a:r>
          </a:p>
          <a:p>
            <a:pPr marL="285750" indent="-285750" algn="l">
              <a:spcAft>
                <a:spcPts val="600"/>
              </a:spcAft>
              <a:buFontTx/>
              <a:buChar char="-"/>
            </a:pPr>
            <a:r>
              <a:rPr lang="da-DK" sz="1600" dirty="0"/>
              <a:t>BR18 vejledning til kapitel 5- Brand, kapitel 1, Generel sikkerhed ved brand.</a:t>
            </a:r>
          </a:p>
        </p:txBody>
      </p:sp>
    </p:spTree>
    <p:extLst>
      <p:ext uri="{BB962C8B-B14F-4D97-AF65-F5344CB8AC3E}">
        <p14:creationId xmlns:p14="http://schemas.microsoft.com/office/powerpoint/2010/main" val="22543711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DEB0E-6EBD-B822-57E4-8D9D3A5F4E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15F97306-DAF5-8DA2-BD8F-AD5881690C1C}"/>
              </a:ext>
            </a:extLst>
          </p:cNvPr>
          <p:cNvSpPr/>
          <p:nvPr/>
        </p:nvSpPr>
        <p:spPr>
          <a:xfrm>
            <a:off x="0" y="0"/>
            <a:ext cx="12192000" cy="6903719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95543D-BFDF-578F-C05D-1A8BDC695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95300"/>
            <a:ext cx="10727999" cy="548463"/>
          </a:xfrm>
          <a:noFill/>
        </p:spPr>
        <p:txBody>
          <a:bodyPr anchor="ctr"/>
          <a:lstStyle/>
          <a:p>
            <a:r>
              <a:rPr lang="da-DK" sz="2300" dirty="0"/>
              <a:t> Eksisterende forhold før 1998 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D299F3F-6400-2890-E5C4-DBC70913903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F47080-7C85-7FF2-4555-BB070DC946B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E3A6315-2385-45FD-3964-8F39E297CE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9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22D82257-F29C-101C-53FB-65382320F1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31ABA001-239F-9946-8775-7313E25BE870}"/>
              </a:ext>
            </a:extLst>
          </p:cNvPr>
          <p:cNvSpPr txBox="1"/>
          <p:nvPr/>
        </p:nvSpPr>
        <p:spPr>
          <a:xfrm>
            <a:off x="574674" y="1412111"/>
            <a:ext cx="10658555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/>
              <a:t>1961 punkt 6.1.2 </a:t>
            </a:r>
          </a:p>
          <a:p>
            <a:pPr algn="l"/>
            <a:r>
              <a:rPr lang="da-DK" sz="1600" dirty="0"/>
              <a:t>Ved åbninger til gennemføring af ledninger skal der omkring de enkelte gennemføringer tilvejebringes fuldstændig tæthed. Rørgennemføringer skal udføres med bøsning.</a:t>
            </a:r>
          </a:p>
          <a:p>
            <a:pPr algn="l"/>
            <a:endParaRPr lang="da-DK" sz="1600" dirty="0"/>
          </a:p>
          <a:p>
            <a:pPr algn="l"/>
            <a:r>
              <a:rPr lang="da-DK" sz="1600" dirty="0"/>
              <a:t>1982 kapitel 6 stk. 2 </a:t>
            </a:r>
          </a:p>
          <a:p>
            <a:pPr algn="l"/>
            <a:r>
              <a:rPr lang="da-DK" sz="1600" dirty="0"/>
              <a:t>Ved åbninger til gennemføring af ledninger skal der omkring de enkelte gennemføringer tilvejebringes fuldstændig tæthed. Rørgennemføringer skal udføres med bøsning.</a:t>
            </a:r>
          </a:p>
          <a:p>
            <a:pPr algn="l"/>
            <a:r>
              <a:rPr lang="da-DK" sz="1600" dirty="0"/>
              <a:t>Gennemføringer af rør, kanaler og andre installationer skal lukkes tæt på en sådan måde, at sektionsafgrænsningen</a:t>
            </a:r>
          </a:p>
          <a:p>
            <a:pPr algn="l"/>
            <a:r>
              <a:rPr lang="da-DK" sz="1600" dirty="0"/>
              <a:t>brandmæssige egenskab ikke forringes.</a:t>
            </a:r>
          </a:p>
          <a:p>
            <a:pPr algn="l"/>
            <a:endParaRPr lang="da-DK" sz="1600" dirty="0"/>
          </a:p>
          <a:p>
            <a:pPr algn="l"/>
            <a:r>
              <a:rPr lang="da-DK" sz="1600" dirty="0"/>
              <a:t>BR95 6.4.3 </a:t>
            </a:r>
          </a:p>
          <a:p>
            <a:pPr algn="l"/>
            <a:r>
              <a:rPr lang="da-DK" sz="1600" dirty="0"/>
              <a:t>Gennemføringer for installationer i brandvægge og brandsektionsvægge skal lukkes tæt, så adskillelsernes brandmæssige egenskaber ikke forringes.</a:t>
            </a:r>
          </a:p>
          <a:p>
            <a:pPr algn="l"/>
            <a:endParaRPr lang="da-DK" sz="1600" dirty="0"/>
          </a:p>
          <a:p>
            <a:pPr algn="l"/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1005537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B2317A2-54B8-5B06-EF68-6822D5572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49580"/>
            <a:ext cx="10728000" cy="594183"/>
          </a:xfrm>
          <a:solidFill>
            <a:schemeClr val="tx2"/>
          </a:solidFill>
        </p:spPr>
        <p:txBody>
          <a:bodyPr anchor="ctr"/>
          <a:lstStyle/>
          <a:p>
            <a:r>
              <a:rPr lang="da-DK" sz="2400" dirty="0"/>
              <a:t> Brandtekniske installationer 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E7F8D45-C346-F10F-C0E2-3ED1074A54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674" y="1921445"/>
            <a:ext cx="5184000" cy="398145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da-DK" sz="1600" dirty="0"/>
              <a:t>ABA-anlæg automatisk brandalarmanlæg</a:t>
            </a:r>
          </a:p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endParaRPr lang="da-DK" sz="1600" dirty="0"/>
          </a:p>
          <a:p>
            <a:r>
              <a:rPr lang="da-DK" sz="1600" dirty="0"/>
              <a:t>AVS-anlæg automatisk sprinkleranlæg</a:t>
            </a:r>
          </a:p>
          <a:p>
            <a:pPr marL="0" indent="0">
              <a:buNone/>
            </a:pPr>
            <a:endParaRPr lang="da-DK" sz="1600" dirty="0"/>
          </a:p>
          <a:p>
            <a:r>
              <a:rPr lang="da-DK" sz="1600" dirty="0"/>
              <a:t>ATA-anlæg automatisk tryksætningsanlæg</a:t>
            </a:r>
          </a:p>
          <a:p>
            <a:pPr marL="0" indent="0">
              <a:buNone/>
            </a:pPr>
            <a:endParaRPr lang="da-DK" sz="1600" dirty="0"/>
          </a:p>
          <a:p>
            <a:r>
              <a:rPr lang="da-DK" sz="1600" dirty="0"/>
              <a:t>Flugtvejs- og panikbelysningsanlæg</a:t>
            </a:r>
          </a:p>
          <a:p>
            <a:endParaRPr lang="da-DK" sz="1600" dirty="0"/>
          </a:p>
          <a:p>
            <a:r>
              <a:rPr lang="da-DK" sz="1600" dirty="0"/>
              <a:t>Røgalarmanlæg</a:t>
            </a:r>
          </a:p>
          <a:p>
            <a:pPr marL="0" indent="0">
              <a:buNone/>
            </a:pPr>
            <a:endParaRPr lang="da-DK" sz="1600" dirty="0"/>
          </a:p>
          <a:p>
            <a:r>
              <a:rPr lang="da-DK" sz="1600" dirty="0"/>
              <a:t>Røgudluftning</a:t>
            </a:r>
          </a:p>
          <a:p>
            <a:endParaRPr lang="da-DK" sz="1600" dirty="0"/>
          </a:p>
          <a:p>
            <a:r>
              <a:rPr lang="da-DK" sz="1600" dirty="0"/>
              <a:t>ABV-anlæg Automatisk brandventilation </a:t>
            </a: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CE0E5162-28D6-155A-DF2C-D46469249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21445"/>
            <a:ext cx="5184000" cy="3981450"/>
          </a:xfrm>
        </p:spPr>
        <p:txBody>
          <a:bodyPr/>
          <a:lstStyle/>
          <a:p>
            <a:r>
              <a:rPr lang="da-DK" sz="1600" dirty="0"/>
              <a:t>(AVA-IVA) varslingsanlæg </a:t>
            </a:r>
          </a:p>
          <a:p>
            <a:pPr marL="0" indent="0">
              <a:buNone/>
            </a:pPr>
            <a:endParaRPr lang="da-DK" sz="1600" dirty="0"/>
          </a:p>
          <a:p>
            <a:r>
              <a:rPr lang="da-DK" sz="1600" dirty="0"/>
              <a:t>Ventilationsanlæg </a:t>
            </a:r>
          </a:p>
          <a:p>
            <a:endParaRPr lang="da-DK" sz="1600" dirty="0"/>
          </a:p>
          <a:p>
            <a:r>
              <a:rPr lang="da-DK" sz="1600" dirty="0"/>
              <a:t>ABDL-anlæg automatisk branddørslukningsanlæg</a:t>
            </a:r>
          </a:p>
          <a:p>
            <a:endParaRPr lang="da-DK" sz="1600" dirty="0"/>
          </a:p>
          <a:p>
            <a:r>
              <a:rPr lang="da-DK" sz="1600" dirty="0"/>
              <a:t>Brandmandselevator</a:t>
            </a:r>
          </a:p>
          <a:p>
            <a:endParaRPr lang="da-DK" sz="1600" dirty="0"/>
          </a:p>
          <a:p>
            <a:r>
              <a:rPr lang="da-DK" sz="1600" dirty="0"/>
              <a:t>Slangevinder</a:t>
            </a:r>
          </a:p>
          <a:p>
            <a:endParaRPr lang="da-DK" sz="1600" dirty="0"/>
          </a:p>
          <a:p>
            <a:r>
              <a:rPr lang="da-DK" sz="1600" dirty="0"/>
              <a:t>Stigrør</a:t>
            </a:r>
          </a:p>
          <a:p>
            <a:pPr marL="0" indent="0">
              <a:buNone/>
            </a:pPr>
            <a:endParaRPr lang="da-DK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6CA5F9D-F3C2-E6AB-B7F9-4D08D98FD5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096B0E98-BF32-EB29-A993-EB6FD1ED70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75612" y="6653389"/>
            <a:ext cx="1254126" cy="168762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DD2AE7FD-2E42-FCB2-1709-AE90CD246C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</a:t>
            </a:fld>
            <a:endParaRPr lang="da-DK" dirty="0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25C16F46-19A8-AF7B-A9F9-FEFECDBF1B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59" y="63911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4414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8DC74-8188-D1F4-CF3C-0DB53C71D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41C0D92-EEFC-6E6D-F4A5-54549A263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60587"/>
            <a:ext cx="10727999" cy="583176"/>
          </a:xfrm>
          <a:solidFill>
            <a:srgbClr val="FF0000"/>
          </a:solidFill>
        </p:spPr>
        <p:txBody>
          <a:bodyPr anchor="ctr"/>
          <a:lstStyle/>
          <a:p>
            <a:r>
              <a:rPr lang="da-DK" sz="2300" dirty="0"/>
              <a:t> Eksisterende forhold 1998 - 2018 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95A04FE8-E606-49FA-9935-2E793A710D8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A7CCFC96-7BCA-6EFD-B5A0-A5FD897BFF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81DC7E9-16EC-4B2B-B8E0-820F7F01AE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0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96046A1-F278-64FE-6430-BB984FCED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1EB2AE6D-F0AC-AD7D-26DF-A004FD9A89CF}"/>
              </a:ext>
            </a:extLst>
          </p:cNvPr>
          <p:cNvSpPr txBox="1"/>
          <p:nvPr/>
        </p:nvSpPr>
        <p:spPr>
          <a:xfrm>
            <a:off x="574674" y="1412111"/>
            <a:ext cx="10658555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/>
              <a:t>Vejledningen er et samlet opslag af god praksis og valg, ved udførelse samt vedligeholdelse af brandtætninger til kabler, rør, ventilationskanaler og lignede. Vejledningen tager udgangspunkt i BR95. </a:t>
            </a:r>
          </a:p>
          <a:p>
            <a:pPr algn="l"/>
            <a:endParaRPr lang="da-DK" sz="16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accent3"/>
                </a:solidFill>
              </a:rPr>
              <a:t>Vejledningen er trukket tilbage af DBI, og kan ikke længere anvendes i </a:t>
            </a:r>
          </a:p>
          <a:p>
            <a:pPr algn="l"/>
            <a:r>
              <a:rPr lang="da-DK" sz="1600" dirty="0">
                <a:solidFill>
                  <a:schemeClr val="accent3"/>
                </a:solidFill>
              </a:rPr>
              <a:t>     byggeri opført i henhold til bygningsreglement BR18.</a:t>
            </a:r>
          </a:p>
          <a:p>
            <a:pPr algn="l"/>
            <a:endParaRPr lang="da-DK" sz="16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/>
              <a:t>Vejledningen kan anvendes til kontrol af eksisterende godkendte brandlukninger </a:t>
            </a:r>
          </a:p>
          <a:p>
            <a:pPr algn="l"/>
            <a:r>
              <a:rPr lang="da-DK" sz="1600" dirty="0"/>
              <a:t>     lavet i henhold til BTV 31 betinget i byggeri før 2018.</a:t>
            </a:r>
          </a:p>
          <a:p>
            <a:pPr algn="l"/>
            <a:endParaRPr lang="da-DK" sz="16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/>
              <a:t>Eksisterende lukninger som skal repareres kan lukkes som godkendt i BTV 31. </a:t>
            </a:r>
          </a:p>
          <a:p>
            <a:pPr algn="l"/>
            <a:endParaRPr lang="da-DK" sz="16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/>
              <a:t>Såfremt der er anvendt MK-godkendte produkter efter BTV 31 </a:t>
            </a:r>
          </a:p>
          <a:p>
            <a:pPr algn="l"/>
            <a:r>
              <a:rPr lang="da-DK" sz="1600" dirty="0"/>
              <a:t>     skal der være opsat mærkat.</a:t>
            </a:r>
          </a:p>
          <a:p>
            <a:pPr algn="l"/>
            <a:endParaRPr lang="da-DK" sz="16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/>
              <a:t>Der er særlige undtagelser til gennemføringer i etageejendomme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/>
              <a:t>Er der anvendt brandlukningsmateriale skal det være monteret jf. </a:t>
            </a:r>
          </a:p>
          <a:p>
            <a:pPr algn="l"/>
            <a:r>
              <a:rPr lang="da-DK" sz="1600" dirty="0"/>
              <a:t>     leverandørens anvisninger.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E08D04CA-937B-4D7A-D6A2-256AA0429E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8564" y="2338078"/>
            <a:ext cx="2881132" cy="392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6158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A26818-75C1-7566-D2DE-60425E7DA9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42FFD1B-7644-EED5-B672-9AE2B779E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300" dirty="0"/>
              <a:t> Eksisterende forhold 1998 - 2018 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EF30960-ECE0-274F-879C-0379331CFF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2030E50-38E8-6A0C-1A52-0A438BC7FD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49FDE2D-E2AC-4C8E-49DF-BE56FC3375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1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79EA0857-5A5D-AD3E-977D-8710252210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1DD0405D-0FD1-D2F1-9834-45B2EC64C2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1241385"/>
            <a:ext cx="3372574" cy="4496765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83CDDA4B-9BC6-C657-8E72-457C78CD3E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0600" y="1241385"/>
            <a:ext cx="3372574" cy="4496765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2880F82-D6CE-2843-C515-7F6B9F2411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6526" y="1241386"/>
            <a:ext cx="3372574" cy="4496764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732E8A5E-6A4F-461E-527C-3C62766AAE71}"/>
              </a:ext>
            </a:extLst>
          </p:cNvPr>
          <p:cNvSpPr txBox="1"/>
          <p:nvPr/>
        </p:nvSpPr>
        <p:spPr>
          <a:xfrm>
            <a:off x="1812746" y="5819339"/>
            <a:ext cx="89642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/>
              <a:t>Plastrø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1A1A13AF-6922-5017-5FDF-757DB96E2A2B}"/>
              </a:ext>
            </a:extLst>
          </p:cNvPr>
          <p:cNvSpPr txBox="1"/>
          <p:nvPr/>
        </p:nvSpPr>
        <p:spPr>
          <a:xfrm>
            <a:off x="5026976" y="5838202"/>
            <a:ext cx="156218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/>
              <a:t>Vandførende rør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B3FB62E5-904C-A3D1-F997-351C9617EECE}"/>
              </a:ext>
            </a:extLst>
          </p:cNvPr>
          <p:cNvSpPr txBox="1"/>
          <p:nvPr/>
        </p:nvSpPr>
        <p:spPr>
          <a:xfrm>
            <a:off x="8906966" y="5838202"/>
            <a:ext cx="89642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/>
              <a:t>Stålrør</a:t>
            </a:r>
          </a:p>
        </p:txBody>
      </p:sp>
    </p:spTree>
    <p:extLst>
      <p:ext uri="{BB962C8B-B14F-4D97-AF65-F5344CB8AC3E}">
        <p14:creationId xmlns:p14="http://schemas.microsoft.com/office/powerpoint/2010/main" val="3669697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11B48B-140E-E206-B3A6-39DF853C4D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BB32693A-51B7-68EB-CCE7-5274D46351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E4A3EB5-8750-4458-5144-99176F234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300" dirty="0"/>
              <a:t>Kontrol af gennemføringer efter BR18 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B165579-690B-C7D9-9EB5-36DF587102F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D355719-7C92-C277-9B8F-805C5F6845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1086530-81EA-89F2-1975-EA4DDFAEF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2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49F5C1AF-6F77-6EE4-38DA-35ED1C823A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BA2025B9-8359-B19F-C852-25B8D9437C00}"/>
              </a:ext>
            </a:extLst>
          </p:cNvPr>
          <p:cNvSpPr txBox="1"/>
          <p:nvPr/>
        </p:nvSpPr>
        <p:spPr>
          <a:xfrm>
            <a:off x="574675" y="1362141"/>
            <a:ext cx="7585558" cy="4878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/>
              <a:t>Kontrol af synlige- og tilgængelige forhold </a:t>
            </a:r>
          </a:p>
          <a:p>
            <a:pPr algn="l"/>
            <a:endParaRPr lang="da-DK" sz="1600" dirty="0"/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Kontroller om fuger er løse eller har større revner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Kontroller om der er hul i brandplade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Kontroller om manchet eller brandbøsning er fastgjort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Kontroller om isolering er intakt. 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Kontroller om installationen er udført korrekt jf. installationsvejledningen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At der er anvendt godkendt materiale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a-DK" sz="1600" dirty="0"/>
          </a:p>
          <a:p>
            <a:pPr algn="ctr">
              <a:lnSpc>
                <a:spcPct val="150000"/>
              </a:lnSpc>
            </a:pPr>
            <a:r>
              <a:rPr lang="da-DK" sz="1600" dirty="0">
                <a:solidFill>
                  <a:srgbClr val="FF0000"/>
                </a:solidFill>
              </a:rPr>
              <a:t> </a:t>
            </a:r>
            <a:r>
              <a:rPr lang="da-DK" sz="1600" dirty="0">
                <a:solidFill>
                  <a:schemeClr val="accent3"/>
                </a:solidFill>
              </a:rPr>
              <a:t>BYGNINGSEJER ER OGSÅ ANSVARLIG FOR GENNEMFØRINGER </a:t>
            </a:r>
          </a:p>
          <a:p>
            <a:pPr algn="ctr">
              <a:lnSpc>
                <a:spcPct val="150000"/>
              </a:lnSpc>
            </a:pPr>
            <a:r>
              <a:rPr lang="da-DK" sz="1600" dirty="0">
                <a:solidFill>
                  <a:schemeClr val="accent3"/>
                </a:solidFill>
              </a:rPr>
              <a:t>SOM IKKE ER SYNLIGE OG TILGÆNGELIGE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Over nedsænket loft 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I teknikskakt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0" dirty="0"/>
              <a:t>I kælder i etagedæk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A71DD5E-E384-2400-E0CA-EAA4610525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93498" y="1187001"/>
            <a:ext cx="1981152" cy="2641536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5B16D7EF-C3BE-A3AA-E37F-2E18935231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7723" y="2737780"/>
            <a:ext cx="2029393" cy="2709221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47C6C722-F8F1-43B5-6030-74FDDA4AB37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0000" b="22325"/>
          <a:stretch>
            <a:fillRect/>
          </a:stretch>
        </p:blipFill>
        <p:spPr>
          <a:xfrm>
            <a:off x="8239043" y="4210237"/>
            <a:ext cx="1981152" cy="2353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1800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89F45-2F98-85B0-BDB1-F21A0E3D3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F74E803-8C77-0DA2-BDA5-2B2691779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87680"/>
            <a:ext cx="10727999" cy="556083"/>
          </a:xfrm>
          <a:solidFill>
            <a:schemeClr val="tx2"/>
          </a:solidFill>
        </p:spPr>
        <p:txBody>
          <a:bodyPr anchor="ctr"/>
          <a:lstStyle/>
          <a:p>
            <a:r>
              <a:rPr lang="da-DK" sz="2300" dirty="0"/>
              <a:t> Beklædning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E342EDD9-E616-1479-090C-5AF6E61997B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E10CB393-E93A-D3DF-8C9A-B1B30EC285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B80858B-1800-AC3A-0E9E-A06D28C225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3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B2BAB290-4649-7FF9-4ADB-57F154526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192844-0900-7FE6-F648-942A4E1E8F00}"/>
              </a:ext>
            </a:extLst>
          </p:cNvPr>
          <p:cNvSpPr txBox="1"/>
          <p:nvPr/>
        </p:nvSpPr>
        <p:spPr>
          <a:xfrm>
            <a:off x="574674" y="1423686"/>
            <a:ext cx="10727999" cy="38010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a-DK" sz="1600" dirty="0"/>
              <a:t>Indvendig vægbeklædning er den yderste del af en lodret bygningsdel som yder beskyttelse til bagvedliggende </a:t>
            </a:r>
          </a:p>
          <a:p>
            <a:pPr algn="l">
              <a:spcAft>
                <a:spcPts val="600"/>
              </a:spcAft>
            </a:pPr>
            <a:r>
              <a:rPr lang="da-DK" sz="1600" dirty="0"/>
              <a:t>materiale</a:t>
            </a:r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Egenkontrol</a:t>
            </a:r>
          </a:p>
          <a:p>
            <a:pPr marL="285750" indent="-285750" algn="l">
              <a:spcAft>
                <a:spcPts val="600"/>
              </a:spcAft>
              <a:buFontTx/>
              <a:buChar char="-"/>
            </a:pPr>
            <a:r>
              <a:rPr lang="da-DK" sz="1600" dirty="0"/>
              <a:t>Det kontrolleres at beklædningen ikke er i stykker. </a:t>
            </a:r>
          </a:p>
          <a:p>
            <a:pPr marL="285750" indent="-285750" algn="l">
              <a:spcAft>
                <a:spcPts val="600"/>
              </a:spcAft>
              <a:buFontTx/>
              <a:buChar char="-"/>
            </a:pPr>
            <a:endParaRPr lang="da-DK" sz="1600" dirty="0"/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Indvendig komplettering </a:t>
            </a:r>
          </a:p>
          <a:p>
            <a:pPr algn="l">
              <a:spcAft>
                <a:spcPts val="600"/>
              </a:spcAft>
            </a:pPr>
            <a:r>
              <a:rPr lang="da-DK" sz="1600" dirty="0"/>
              <a:t>Komplettering er monteret uden på en beklædning og er oftest anvendt som lyd regulering.</a:t>
            </a:r>
          </a:p>
          <a:p>
            <a:pPr algn="l">
              <a:spcAft>
                <a:spcPts val="600"/>
              </a:spcAft>
            </a:pPr>
            <a:r>
              <a:rPr lang="da-DK" sz="1600" dirty="0"/>
              <a:t>- B s1,d0 eller D-s2,d2.</a:t>
            </a:r>
          </a:p>
          <a:p>
            <a:pPr algn="l">
              <a:spcAft>
                <a:spcPts val="600"/>
              </a:spcAft>
            </a:pPr>
            <a:endParaRPr lang="da-DK" sz="1600" b="1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12C1BF38-D388-4590-4FA8-8EE9143DD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5254" y="1664413"/>
            <a:ext cx="1137258" cy="1684183"/>
          </a:xfrm>
          <a:prstGeom prst="rect">
            <a:avLst/>
          </a:prstGeom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655599CA-F543-50A0-C9C5-AC2A552F71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75436" y="4001058"/>
            <a:ext cx="1311776" cy="180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2827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F5E29E-9363-BDB1-E82E-DE62216FE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07A91207-D954-8739-FF77-6BF3EFA2D82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46AE7BD-33B4-6F1F-901A-CE499C4A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87680"/>
            <a:ext cx="10727999" cy="556083"/>
          </a:xfrm>
          <a:noFill/>
        </p:spPr>
        <p:txBody>
          <a:bodyPr anchor="ctr"/>
          <a:lstStyle/>
          <a:p>
            <a:r>
              <a:rPr lang="da-DK" sz="2300" dirty="0"/>
              <a:t> Indvendig loft beklædning 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26BF534D-A2C9-0E05-976A-579596A1D6A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4B71733-B1C5-1F70-664E-4DD61F3F21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02671841-A57F-5A34-F61D-81B899B87C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4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CC7F208-6A68-41A4-1B01-FB8B249AE6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54A5D6C4-53CE-9DC3-6E82-E94F95B9FEEE}"/>
              </a:ext>
            </a:extLst>
          </p:cNvPr>
          <p:cNvSpPr txBox="1"/>
          <p:nvPr/>
        </p:nvSpPr>
        <p:spPr>
          <a:xfrm>
            <a:off x="574674" y="1423686"/>
            <a:ext cx="8349407" cy="340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a-DK" sz="1600" dirty="0"/>
              <a:t>Loftbeklædning er den nederste del af en vandret/skråtstillet bygningsdel. Beklædningen skal yde brandbeskyttelse til bagvedliggende materiale.  </a:t>
            </a:r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Egenkontrol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et kontrolleres kravet i brandstrategi eller byggesag er overholdt 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Evt. puds ikke er faldet ned fra loftet i ældre ejendomme.</a:t>
            </a:r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Hjælpemidler: 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yggesag før 2018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randstrategi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KV-plan betinget i byggesagen.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D226C72-BA8A-54D4-9FF9-10B502C14C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 rot="5400000">
            <a:off x="8358617" y="1603356"/>
            <a:ext cx="3229209" cy="2422164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54178292-3FA3-FE54-8C75-BCB54D2AC5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0990" y="3038119"/>
            <a:ext cx="2422165" cy="3229553"/>
          </a:xfrm>
          <a:prstGeom prst="rect">
            <a:avLst/>
          </a:prstGeom>
        </p:spPr>
      </p:pic>
      <p:cxnSp>
        <p:nvCxnSpPr>
          <p:cNvPr id="12" name="Lige pilforbindelse 11">
            <a:extLst>
              <a:ext uri="{FF2B5EF4-FFF2-40B4-BE49-F238E27FC236}">
                <a16:creationId xmlns:a16="http://schemas.microsoft.com/office/drawing/2014/main" id="{0D208F75-AAC8-1128-8DD8-2083099D9B9E}"/>
              </a:ext>
            </a:extLst>
          </p:cNvPr>
          <p:cNvCxnSpPr/>
          <p:nvPr/>
        </p:nvCxnSpPr>
        <p:spPr>
          <a:xfrm>
            <a:off x="9898380" y="1897380"/>
            <a:ext cx="0" cy="45720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8707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6BA0F7-D9FC-0A99-DE9F-D64A4CB41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92A8915-5E02-5591-0754-F69D68B74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518160"/>
            <a:ext cx="10727999" cy="525603"/>
          </a:xfrm>
          <a:solidFill>
            <a:schemeClr val="tx2"/>
          </a:solidFill>
        </p:spPr>
        <p:txBody>
          <a:bodyPr anchor="ctr"/>
          <a:lstStyle/>
          <a:p>
            <a:r>
              <a:rPr lang="da-DK" sz="2300" dirty="0"/>
              <a:t> Indvendig nedhængt loft 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92A1DF18-57A3-FCAB-E835-992FEC2F34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E835BDA-2ED1-6102-980F-72B6B9C9B8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3155" y="6681600"/>
            <a:ext cx="1239034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94CC9E3-665D-3069-B45B-0F0F32DED0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5</a:t>
            </a:fld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1E3E97C-FE5E-6409-60A6-E959B84C6A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8B0DAEE7-4234-4630-2F8D-1376B81E153F}"/>
              </a:ext>
            </a:extLst>
          </p:cNvPr>
          <p:cNvSpPr txBox="1"/>
          <p:nvPr/>
        </p:nvSpPr>
        <p:spPr>
          <a:xfrm>
            <a:off x="574674" y="1423686"/>
            <a:ext cx="8349407" cy="372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a-DK" sz="1600" dirty="0"/>
              <a:t>Nedhængt loft er placeret under indvendig loftbeklædning, og må ikke bidrage til brand- og røgspredning.</a:t>
            </a:r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Egenkontrol</a:t>
            </a:r>
          </a:p>
          <a:p>
            <a:pPr algn="l">
              <a:spcAft>
                <a:spcPts val="600"/>
              </a:spcAft>
            </a:pPr>
            <a:r>
              <a:rPr lang="da-DK" sz="1600" dirty="0"/>
              <a:t>Det kontrolleres at materiale og ophængningssystem er følgende: </a:t>
            </a:r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dirty="0"/>
              <a:t>Anvendelseskategori 1-6 : B</a:t>
            </a:r>
            <a:r>
              <a:rPr lang="da-DK" sz="1000" dirty="0"/>
              <a:t>  </a:t>
            </a:r>
            <a:r>
              <a:rPr lang="da-DK" sz="1600" dirty="0"/>
              <a:t>s1,d0</a:t>
            </a:r>
            <a:r>
              <a:rPr lang="da-DK" sz="1000" dirty="0"/>
              <a:t> </a:t>
            </a:r>
            <a:endParaRPr lang="da-DK" sz="1600" dirty="0"/>
          </a:p>
          <a:p>
            <a:pPr algn="l">
              <a:spcAft>
                <a:spcPts val="600"/>
              </a:spcAft>
            </a:pPr>
            <a:endParaRPr lang="da-DK" sz="1600" dirty="0"/>
          </a:p>
          <a:p>
            <a:pPr algn="l">
              <a:spcAft>
                <a:spcPts val="600"/>
              </a:spcAft>
            </a:pPr>
            <a:r>
              <a:rPr lang="da-DK" sz="1600" b="1" dirty="0"/>
              <a:t>Hjælpemidler: 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yggesag før 2018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randstrategi.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KV-plan betinget i byggesagen.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9871859-7A66-B949-CADF-ADAB5FFCF5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8887" y="1775791"/>
            <a:ext cx="2133785" cy="123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5037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9691F7F-82D5-0A41-D0E6-5C3FC43B838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74674" y="1872001"/>
            <a:ext cx="3441913" cy="688320"/>
          </a:xfrm>
        </p:spPr>
        <p:txBody>
          <a:bodyPr/>
          <a:lstStyle/>
          <a:p>
            <a:r>
              <a:rPr lang="da-DK" sz="2400" dirty="0"/>
              <a:t>Tak for i dag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2A4EDB5-68ED-5642-6CBF-B90AAE299431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C24F8FA-A2A0-2DD6-57FF-107F377D46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6</a:t>
            </a:fld>
            <a:endParaRPr lang="da-DK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379C083F-E77B-4DF8-7F1B-79DBD64640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138" y="63929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741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9FE81CD3-F38C-1F54-D557-F28ABF4156B8}"/>
              </a:ext>
            </a:extLst>
          </p:cNvPr>
          <p:cNvSpPr/>
          <p:nvPr/>
        </p:nvSpPr>
        <p:spPr>
          <a:xfrm>
            <a:off x="-14514" y="0"/>
            <a:ext cx="1220651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3E29EB3-3FCD-A42C-83A5-943654E1D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600867"/>
            <a:ext cx="10727999" cy="442896"/>
          </a:xfrm>
        </p:spPr>
        <p:txBody>
          <a:bodyPr/>
          <a:lstStyle/>
          <a:p>
            <a:r>
              <a:rPr lang="da-DK" sz="2400" dirty="0"/>
              <a:t>Materiale for kontrol af brandtekniske installationer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F078E09-4FDA-BB59-60BA-1A707A7530A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7A4521D-29A8-56FA-51A4-1D87DDF512F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1080" y="6653389"/>
            <a:ext cx="1243187" cy="1800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E6142B6-9A02-E513-D3E1-E04B3EB618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3</a:t>
            </a:fld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9E327C5-83D9-0FB6-FFA5-69FD20EDB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4478" y="75664"/>
            <a:ext cx="2399881" cy="2974971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72436F7-C067-29BF-1320-33B3DF5FB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6504" y="860703"/>
            <a:ext cx="2411293" cy="2974971"/>
          </a:xfrm>
          <a:prstGeom prst="rect">
            <a:avLst/>
          </a:prstGeom>
        </p:spPr>
      </p:pic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77C9954C-C239-83DA-5A4A-EFBD0FEFC7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sz="1600" dirty="0"/>
              <a:t>Godkendte byggesag. </a:t>
            </a:r>
          </a:p>
          <a:p>
            <a:endParaRPr lang="da-DK" sz="1600" dirty="0"/>
          </a:p>
          <a:p>
            <a:r>
              <a:rPr lang="da-DK" sz="1600" dirty="0"/>
              <a:t>Udarbejdet DKV-plan betinget i byggesagen.</a:t>
            </a:r>
          </a:p>
          <a:p>
            <a:endParaRPr lang="da-DK" sz="1600" dirty="0"/>
          </a:p>
          <a:p>
            <a:r>
              <a:rPr lang="da-DK" sz="1600" dirty="0"/>
              <a:t>BR18 vejledning til kapitel 5- Brand, kapitel 7. </a:t>
            </a:r>
          </a:p>
          <a:p>
            <a:endParaRPr lang="da-DK" sz="1600" dirty="0"/>
          </a:p>
          <a:p>
            <a:r>
              <a:rPr lang="da-DK" sz="1600" dirty="0"/>
              <a:t>Retningslinje for projekteret anlæg.</a:t>
            </a:r>
          </a:p>
          <a:p>
            <a:endParaRPr lang="da-DK" sz="1600" dirty="0"/>
          </a:p>
          <a:p>
            <a:r>
              <a:rPr lang="da-DK" sz="1600" dirty="0"/>
              <a:t>Tilslutningsaftale til beredskab. 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E76C325E-9155-6CC8-EF6B-4F777A7F9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59" y="6391172"/>
            <a:ext cx="1608938" cy="340834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16FCC16-CABC-87E1-5F94-1B4A41C539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2025" y="2057156"/>
            <a:ext cx="2423542" cy="3557035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2A49BB36-BD52-6CD1-0A00-25EE31FF66E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740"/>
          <a:stretch>
            <a:fillRect/>
          </a:stretch>
        </p:blipFill>
        <p:spPr>
          <a:xfrm>
            <a:off x="6527151" y="3199487"/>
            <a:ext cx="2435270" cy="3570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187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BB7F3BA-7C82-4F5B-65DA-1A300C073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336884"/>
            <a:ext cx="10728000" cy="706879"/>
          </a:xfrm>
          <a:solidFill>
            <a:schemeClr val="tx2"/>
          </a:solidFill>
        </p:spPr>
        <p:txBody>
          <a:bodyPr anchor="ctr"/>
          <a:lstStyle/>
          <a:p>
            <a:r>
              <a:rPr lang="da-DK" sz="2400" dirty="0"/>
              <a:t> Lovgivning</a:t>
            </a:r>
            <a:r>
              <a:rPr lang="da-DK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75A9E16-DCE9-871D-0CFF-2FF675712E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674" y="1438275"/>
            <a:ext cx="10728000" cy="3981450"/>
          </a:xfrm>
        </p:spPr>
        <p:txBody>
          <a:bodyPr/>
          <a:lstStyle/>
          <a:p>
            <a:r>
              <a:rPr lang="da-DK" sz="1600" dirty="0"/>
              <a:t>Eksisterende bygninger uden godkendt drift-, kontrol- og vedligeholdelsesplan skal drives, kontrolleres og vedligeholdes i henhold til Bygningsreglementets vejledning til kapitel 5 – Brand, kapitel 7.</a:t>
            </a:r>
          </a:p>
          <a:p>
            <a:endParaRPr lang="da-DK" sz="1600" dirty="0"/>
          </a:p>
          <a:p>
            <a:r>
              <a:rPr lang="da-DK" sz="1600" dirty="0"/>
              <a:t>BR18, § 141, stk. 4 stiller ikke krav om løbende akkrediteret funktionstest af brandtekniske installationer, der er etableret efter tidligere regler.</a:t>
            </a:r>
          </a:p>
          <a:p>
            <a:pPr marL="0" indent="0">
              <a:buNone/>
            </a:pPr>
            <a:r>
              <a:rPr lang="da-DK" sz="1600" dirty="0"/>
              <a:t>   For disse anlæg kan eksisterende test- og inspektionsprocedure fortsætte, hvis det fremgår af byggetilladelsen.</a:t>
            </a:r>
          </a:p>
          <a:p>
            <a:pPr marL="0" indent="0">
              <a:buNone/>
            </a:pPr>
            <a:endParaRPr lang="da-DK" sz="1600" dirty="0"/>
          </a:p>
          <a:p>
            <a:r>
              <a:rPr lang="da-DK" sz="1600" dirty="0"/>
              <a:t>Den akkrediteret funktionsafprøvning skal foretages iht. den projekteringsstandard installationen er projekteret efter, og i overensstemmelse med det akkrediteret inspektionsorgans retningslinjer og godkendelse.</a:t>
            </a:r>
          </a:p>
          <a:p>
            <a:endParaRPr lang="da-DK" sz="1600" dirty="0"/>
          </a:p>
          <a:p>
            <a:r>
              <a:rPr lang="da-DK" sz="1600" dirty="0"/>
              <a:t>Den fortaget kontrol, eftersyn og funktionsafprøvning skal kunne dokumenteres 5 år tilbage. </a:t>
            </a:r>
          </a:p>
          <a:p>
            <a:pPr marL="0" indent="0">
              <a:buNone/>
            </a:pPr>
            <a:r>
              <a:rPr lang="da-DK" sz="1600" dirty="0"/>
              <a:t>   (Gældende fra marts 2021)</a:t>
            </a:r>
          </a:p>
          <a:p>
            <a:endParaRPr lang="da-DK" sz="1800" dirty="0"/>
          </a:p>
          <a:p>
            <a:pPr marL="0" indent="0">
              <a:buNone/>
            </a:pPr>
            <a:endParaRPr lang="da-DK" sz="1800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2CBA907-67B0-9FF3-0485-99F0CE74A6A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A19D40A-4F64-DDC9-86FD-5FE845418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73137" y="6612284"/>
            <a:ext cx="1259073" cy="179999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C61113D-5F7F-0089-5DB7-8153513230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4</a:t>
            </a:fld>
            <a:endParaRPr lang="da-DK" dirty="0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B718FF14-FDA4-C7B9-2682-69247E2EA7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59" y="63911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0361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56AE94-E0C4-0B22-A5EB-184DEE3F3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FD0E3DE-23DB-27B7-6F94-982EBE270506}"/>
              </a:ext>
            </a:extLst>
          </p:cNvPr>
          <p:cNvSpPr/>
          <p:nvPr/>
        </p:nvSpPr>
        <p:spPr>
          <a:xfrm>
            <a:off x="0" y="0"/>
            <a:ext cx="12192000" cy="6903719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621CAA4-CA78-E2B7-6B58-39A8D08DB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4" y="466828"/>
            <a:ext cx="10727999" cy="617967"/>
          </a:xfrm>
          <a:noFill/>
        </p:spPr>
        <p:txBody>
          <a:bodyPr anchor="ctr"/>
          <a:lstStyle/>
          <a:p>
            <a:r>
              <a:rPr lang="da-DK" sz="2400" dirty="0"/>
              <a:t> Opgaver for Driftsansvarlig</a:t>
            </a:r>
            <a:r>
              <a:rPr lang="da-DK" dirty="0"/>
              <a:t> 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54E9C9C1-13D9-AE99-3845-78CA5DF79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674" y="1438275"/>
            <a:ext cx="10728000" cy="3981450"/>
          </a:xfrm>
        </p:spPr>
        <p:txBody>
          <a:bodyPr/>
          <a:lstStyle/>
          <a:p>
            <a:r>
              <a:rPr lang="da-DK" sz="1600" dirty="0"/>
              <a:t>At alle installerede brandtekniske installationer, og komfortventilationsanlæg efterses og vedligeholdes.</a:t>
            </a:r>
          </a:p>
          <a:p>
            <a:endParaRPr lang="da-DK" sz="1600" dirty="0"/>
          </a:p>
          <a:p>
            <a:r>
              <a:rPr lang="da-DK" sz="1600" dirty="0"/>
              <a:t>At der føres logbøger eller logskemaer for kontrol og eftersyn af brandtekniske installationer.</a:t>
            </a:r>
          </a:p>
          <a:p>
            <a:endParaRPr lang="da-DK" sz="1600" dirty="0"/>
          </a:p>
          <a:p>
            <a:r>
              <a:rPr lang="da-DK" sz="1600" dirty="0"/>
              <a:t>At procedure ved fejl, nedbrud eller frakobling af brandsikringsanlæg følges.</a:t>
            </a:r>
          </a:p>
          <a:p>
            <a:endParaRPr lang="da-DK" sz="1600" dirty="0"/>
          </a:p>
          <a:p>
            <a:r>
              <a:rPr lang="da-DK" sz="1600" dirty="0"/>
              <a:t>At lave instruktion for alt fastansat personale, samt ejere, lejere og øvrige brugere, der til daglig færdes i bygningen. </a:t>
            </a:r>
          </a:p>
          <a:p>
            <a:pPr marL="0" indent="0">
              <a:buNone/>
            </a:pPr>
            <a:endParaRPr lang="da-DK" sz="1800" dirty="0"/>
          </a:p>
          <a:p>
            <a:pPr marL="0" indent="0">
              <a:buNone/>
            </a:pPr>
            <a:endParaRPr lang="da-DK" sz="1800" dirty="0"/>
          </a:p>
          <a:p>
            <a:pPr marL="0" indent="0" algn="ctr">
              <a:buNone/>
            </a:pPr>
            <a:r>
              <a:rPr lang="da-DK" sz="1800" dirty="0">
                <a:solidFill>
                  <a:srgbClr val="0070C0"/>
                </a:solidFill>
              </a:rPr>
              <a:t>Det er altid bygningsejer der er ansvarlig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9FDDDA61-3401-C5E4-2E02-D270676149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516867EB-5637-60DD-3782-A84DC61C55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61562" y="6644955"/>
            <a:ext cx="1282223" cy="1800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B2123F5-7F72-5FDE-2434-3F6653031B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5</a:t>
            </a:fld>
            <a:endParaRPr lang="da-DK" dirty="0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313F1DCD-311B-1F8A-57CF-14049FDD1A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59" y="63911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920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250" tmFilter="0, 0; .2, .5; .8, .5; 1, 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625" autoRev="1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4C5532-45B4-EEC4-749A-A858569D7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1CE76C0-0AEA-A9F6-F660-9A2348A84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66828"/>
            <a:ext cx="10727999" cy="576935"/>
          </a:xfrm>
          <a:solidFill>
            <a:schemeClr val="tx2"/>
          </a:solidFill>
        </p:spPr>
        <p:txBody>
          <a:bodyPr anchor="ctr"/>
          <a:lstStyle/>
          <a:p>
            <a:r>
              <a:rPr lang="da-DK" sz="2400" dirty="0"/>
              <a:t>Afprøvning af alarmoverførelsen til redningsberedskabet 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2BA6AFB-6438-EA8F-36C8-5C15A7A16B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674" y="1438275"/>
            <a:ext cx="10728000" cy="3981450"/>
          </a:xfrm>
        </p:spPr>
        <p:txBody>
          <a:bodyPr/>
          <a:lstStyle/>
          <a:p>
            <a:pPr marL="0" indent="0">
              <a:buNone/>
            </a:pPr>
            <a:r>
              <a:rPr lang="da-DK" sz="1600" dirty="0"/>
              <a:t>BR18 vejledning til kapitel 5-Brand, kapitel 7</a:t>
            </a:r>
          </a:p>
          <a:p>
            <a:pPr marL="0" indent="0">
              <a:buNone/>
            </a:pPr>
            <a:endParaRPr lang="da-DK" sz="1600" dirty="0"/>
          </a:p>
          <a:p>
            <a:r>
              <a:rPr lang="da-DK" sz="1600" dirty="0"/>
              <a:t>I forbindelse med aftalen om alarmoverførelsen til redningsberedskabet er der givet terminer for afprøvning af alarmoverførelsen. Denne kan variere fra ugentlig til årlig.</a:t>
            </a:r>
          </a:p>
          <a:p>
            <a:endParaRPr lang="da-DK" sz="1600" dirty="0"/>
          </a:p>
          <a:p>
            <a:endParaRPr lang="da-DK" sz="1600" dirty="0"/>
          </a:p>
          <a:p>
            <a:pPr marL="0" indent="0">
              <a:buNone/>
            </a:pPr>
            <a:endParaRPr lang="da-DK" sz="1800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105484E-63C3-D7C3-6145-9573D59FEA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7B78C15-9816-4CEC-F2F6-7219C38948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32626" y="6639589"/>
            <a:ext cx="1340096" cy="184834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1696FED-FDA2-D231-FCE6-412E70F37A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6</a:t>
            </a:fld>
            <a:endParaRPr lang="da-DK" dirty="0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58DBD41B-3F5B-D409-85B1-1A2558628C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59" y="63911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860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9135D1-D51F-70E6-DC0E-58167E6497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B82CF7FE-0796-DA65-892B-E9E8FCFA0F5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3ECC6CE-4FE0-715E-041B-E3542E54CE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 </a:t>
            </a:r>
            <a:r>
              <a:rPr lang="da-DK" sz="2400"/>
              <a:t>Kontrol trappesprinkling </a:t>
            </a:r>
            <a:endParaRPr lang="da-DK" sz="2400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3C4C629-8B99-DCC8-90D6-792D6D448F7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BAB0D29D-CC90-A6E2-4997-563D07CDE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73136" y="6644955"/>
            <a:ext cx="1259073" cy="1800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FB34725-C497-D574-79B8-A90D748973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B7952A3-D6F3-F354-EDAB-7800C821240F}"/>
              </a:ext>
            </a:extLst>
          </p:cNvPr>
          <p:cNvSpPr txBox="1"/>
          <p:nvPr/>
        </p:nvSpPr>
        <p:spPr>
          <a:xfrm>
            <a:off x="574674" y="1349528"/>
            <a:ext cx="1072799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a-DK" sz="1600" dirty="0"/>
              <a:t>Skal udføres i henhold til udarbejdet DKV-plan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a-DK" sz="1600" dirty="0"/>
              <a:t>Skal udarbejdes i henhold til BR18 vejledning til kapitel 5 brand- kapitel 7 punkt 7.5.2:</a:t>
            </a:r>
          </a:p>
          <a:p>
            <a:pPr algn="l"/>
            <a:r>
              <a:rPr lang="da-DK" sz="1600" dirty="0"/>
              <a:t>      - </a:t>
            </a:r>
            <a:r>
              <a:rPr lang="da-DK" sz="1600" i="1" dirty="0"/>
              <a:t>”Udover følgende beskrivelser for kontrol, eftersyn og vedligeholdelse skal retningslinjerne for kontrol, eftersyn og</a:t>
            </a:r>
          </a:p>
          <a:p>
            <a:pPr algn="l"/>
            <a:r>
              <a:rPr lang="da-DK" sz="1600" i="1" dirty="0"/>
              <a:t>        vedligeholdelse, som angivet i den for sprinkleranlægget valgte projekteringsstandard, udføres”.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096CC2DF-4FF1-95DB-2B53-B6FF447BC1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5815" y="2854981"/>
            <a:ext cx="2373245" cy="3323655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24695503-DE8F-C78C-C53E-CAC215C4A5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860" y="2854981"/>
            <a:ext cx="2373244" cy="3323655"/>
          </a:xfrm>
          <a:prstGeom prst="rect">
            <a:avLst/>
          </a:prstGeom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C8F06F51-5027-1425-FFBD-5BCEF03AD0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805" y="63929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04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466A1-64AC-6216-511D-01287D8B79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0CC2B24-E06B-5C06-81EB-85923BE69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49580"/>
            <a:ext cx="10728000" cy="594183"/>
          </a:xfrm>
          <a:solidFill>
            <a:schemeClr val="tx2"/>
          </a:solidFill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a-DK" sz="2300" dirty="0"/>
              <a:t> Kontrol jf. DBI retningslinje 251/4001 1. udgave april 2009 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582EDA3-BD60-20A4-A0F2-33BE65BCB94E}"/>
              </a:ext>
            </a:extLst>
          </p:cNvPr>
          <p:cNvSpPr txBox="1"/>
          <p:nvPr/>
        </p:nvSpPr>
        <p:spPr>
          <a:xfrm>
            <a:off x="574675" y="1335277"/>
            <a:ext cx="6649529" cy="398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b="1" dirty="0"/>
              <a:t>Kapitel 19.9.2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a-DK" sz="1600" b="1" dirty="0"/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b="1" dirty="0"/>
              <a:t>Afprøvning, drift og vedligeholdelse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Automatisk brandsikringsanlæg skal afprøves iht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/>
              <a:t>   DBI Retningslinje 005, 3. udgave, maj 2008, bilag 1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/>
              <a:t> 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b="1" dirty="0"/>
              <a:t>Kontrolintervaller 005: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et kontrolleres dagligt at anlægget er i drift, uden fejlmeldinger og frakoblinger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er laves ugentlig funktionstest af anlægget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Hver måned kontrolleres frirum til sprinkler samt adgang for redningsberedskabet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er udføres kvartalsvis funktionskontrol af vandstrømskontakter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b="1" dirty="0"/>
              <a:t>Service og inspektion: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er skal udføres årlig serviceeftersyn af godkendt installationsfirma.</a:t>
            </a: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er skal udføres årlig akkrediteret inspektion.</a:t>
            </a:r>
            <a:endParaRPr lang="da-DK" sz="1600" b="1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14D54DE9-0524-ADAE-FF13-CF579C6543D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084" t="1153" r="2424" b="2589"/>
          <a:stretch>
            <a:fillRect/>
          </a:stretch>
        </p:blipFill>
        <p:spPr>
          <a:xfrm>
            <a:off x="7224204" y="1916113"/>
            <a:ext cx="2972942" cy="3981450"/>
          </a:xfrm>
          <a:prstGeom prst="rect">
            <a:avLst/>
          </a:prstGeom>
          <a:noFill/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BE18685-594C-96F1-837C-C7235CFBD5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687186" y="6653389"/>
            <a:ext cx="1230977" cy="179999"/>
          </a:xfrm>
        </p:spPr>
        <p:txBody>
          <a:bodyPr vert="horz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r>
              <a:rPr lang="da-DK" kern="1200" dirty="0">
                <a:latin typeface="+mn-lt"/>
                <a:ea typeface="+mn-ea"/>
                <a:cs typeface="+mn-cs"/>
              </a:rPr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7CFA4C7-5508-013E-4522-175B7BE815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74674" y="6473389"/>
            <a:ext cx="334394" cy="180000"/>
          </a:xfrm>
        </p:spPr>
        <p:txBody>
          <a:bodyPr vert="horz" lIns="0" tIns="0" rIns="0" bIns="0" rtlCol="0" anchor="ctr" anchorCtr="0">
            <a:normAutofit/>
          </a:bodyPr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8</a:t>
            </a:fld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6D95781E-E1A2-7293-67D7-2BA436380B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009" y="6392972"/>
            <a:ext cx="1608938" cy="3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6414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3CAFC7-5A80-8ED8-7555-6767C2E2C5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9452263-1766-C944-4F53-1CEE166F16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77DA64-204F-C77C-D91E-C58AE72CC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502920"/>
            <a:ext cx="10727999" cy="540843"/>
          </a:xfrm>
          <a:noFill/>
        </p:spPr>
        <p:txBody>
          <a:bodyPr anchor="ctr"/>
          <a:lstStyle/>
          <a:p>
            <a:r>
              <a:rPr lang="da-DK" dirty="0"/>
              <a:t> </a:t>
            </a:r>
            <a:r>
              <a:rPr lang="da-DK" sz="2300" dirty="0"/>
              <a:t>Kontrol jf. DBI retningslinje 251/4001 3. udgave december 2021 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D5EA025-0D21-8DCF-2FFA-43DA83CF87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BCA720C2-9047-2BE2-F336-AAE687ECFB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47519" y="6473389"/>
            <a:ext cx="8905876" cy="176400"/>
          </a:xfrm>
        </p:spPr>
        <p:txBody>
          <a:bodyPr/>
          <a:lstStyle/>
          <a:p>
            <a:r>
              <a:rPr lang="da-DK" dirty="0"/>
              <a:t>Brandteknisk Rådgivning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6F15DBC-3335-F7AE-2DDD-5563891E0B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4CB13DEA-60F5-94CA-BCA9-905EBD404183}"/>
              </a:ext>
            </a:extLst>
          </p:cNvPr>
          <p:cNvSpPr txBox="1"/>
          <p:nvPr/>
        </p:nvSpPr>
        <p:spPr>
          <a:xfrm>
            <a:off x="574674" y="1296363"/>
            <a:ext cx="10727999" cy="35855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b="1" dirty="0"/>
              <a:t>Kapitel 19.9.2</a:t>
            </a:r>
          </a:p>
          <a:p>
            <a:pPr algn="l"/>
            <a:r>
              <a:rPr lang="da-DK" sz="1600" b="1" dirty="0"/>
              <a:t>Afprøvning, drift og vedligeholdelse</a:t>
            </a:r>
          </a:p>
          <a:p>
            <a:pPr algn="l"/>
            <a:endParaRPr lang="da-DK" sz="1600" b="1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/>
              <a:t>Automatisk brandsikringsanlæg skal afprøves iht.</a:t>
            </a:r>
          </a:p>
          <a:p>
            <a:pPr algn="l"/>
            <a:r>
              <a:rPr lang="da-DK" sz="1600" dirty="0"/>
              <a:t>     DBI Retningslinje 005, 4. udgave, jan 2022.</a:t>
            </a:r>
          </a:p>
          <a:p>
            <a:pPr algn="l"/>
            <a:endParaRPr lang="da-DK" sz="1600" dirty="0"/>
          </a:p>
          <a:p>
            <a:pPr algn="l"/>
            <a:r>
              <a:rPr lang="da-DK" sz="1600" b="1" dirty="0"/>
              <a:t>Kontrolintervaller 005: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Der skal ugentlig udføres funktionskontrol af pumper og sprinklercentral kontrol. 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Der skal udføres kvartalsvis kontrol af dokumentation og adgangsveje for redningsberedskabet.</a:t>
            </a:r>
          </a:p>
          <a:p>
            <a:pPr algn="l"/>
            <a:endParaRPr lang="da-DK" sz="1600" dirty="0"/>
          </a:p>
          <a:p>
            <a:pPr algn="l">
              <a:spcBef>
                <a:spcPts val="600"/>
              </a:spcBef>
            </a:pPr>
            <a:r>
              <a:rPr lang="da-DK" sz="1600" b="1" dirty="0"/>
              <a:t>Service og inspektion: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Der skal årligt udføres serviceeftersyn af godkendt installationsfirma.</a:t>
            </a: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Der skal årlig udføres akkrediteret inspektion.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FFF2BD69-4037-5AA0-0735-00D136DC2C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59" y="6391172"/>
            <a:ext cx="1608938" cy="340834"/>
          </a:xfrm>
          <a:prstGeom prst="rect">
            <a:avLst/>
          </a:prstGeom>
        </p:spPr>
      </p:pic>
      <p:sp>
        <p:nvSpPr>
          <p:cNvPr id="4" name="Pladsholder til sidefod 5">
            <a:extLst>
              <a:ext uri="{FF2B5EF4-FFF2-40B4-BE49-F238E27FC236}">
                <a16:creationId xmlns:a16="http://schemas.microsoft.com/office/drawing/2014/main" id="{2E38B77F-8216-2F5A-4C64-07965BA4CE5B}"/>
              </a:ext>
            </a:extLst>
          </p:cNvPr>
          <p:cNvSpPr txBox="1">
            <a:spLocks/>
          </p:cNvSpPr>
          <p:nvPr/>
        </p:nvSpPr>
        <p:spPr>
          <a:xfrm>
            <a:off x="10678505" y="6653389"/>
            <a:ext cx="1248339" cy="16876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da-DK"/>
              <a:t>Brandteknisk Rådgivn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72801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0yp.nTtH9n5hAf2nW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0030435789060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alck">
      <a:dk1>
        <a:srgbClr val="000000"/>
      </a:dk1>
      <a:lt1>
        <a:srgbClr val="FFFFFF"/>
      </a:lt1>
      <a:dk2>
        <a:srgbClr val="FF1E28"/>
      </a:dk2>
      <a:lt2>
        <a:srgbClr val="425565"/>
      </a:lt2>
      <a:accent1>
        <a:srgbClr val="1B2045"/>
      </a:accent1>
      <a:accent2>
        <a:srgbClr val="E9E9E9"/>
      </a:accent2>
      <a:accent3>
        <a:srgbClr val="2949FA"/>
      </a:accent3>
      <a:accent4>
        <a:srgbClr val="94A4FD"/>
      </a:accent4>
      <a:accent5>
        <a:srgbClr val="66182A"/>
      </a:accent5>
      <a:accent6>
        <a:srgbClr val="BCA5AB"/>
      </a:accent6>
      <a:hlink>
        <a:srgbClr val="0000FF"/>
      </a:hlink>
      <a:folHlink>
        <a:srgbClr val="66182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Blank.potx" id="{DB9BCBFB-C94D-4299-8507-228305D5B4BA}" vid="{657CAB0B-F787-4239-A23D-C929C00A501E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TemplateConfiguration><![CDATA[{"elementsMetadata":[],"transformationConfigurations":[{"language":"{{DocumentLanguage}}","disableUpdates":false,"type":"proofingLanguage"}],"templateName":"Falck blank presentation","templateDescription":"","enableDocumentContentUpdater":false,"version":"2.0"}]]></Templafy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TemplafySlideTemplateConfiguration><![CDATA[{"slideVersion":1,"isValidatorEnabled":false,"isLocked":false,"elementsMetadata":[],"slideId":"1067718081790345217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4983AC0A-05D3-4754-A086-CDD7A70A805C}">
  <ds:schemaRefs/>
</ds:datastoreItem>
</file>

<file path=customXml/itemProps2.xml><?xml version="1.0" encoding="utf-8"?>
<ds:datastoreItem xmlns:ds="http://schemas.openxmlformats.org/officeDocument/2006/customXml" ds:itemID="{4E2741EC-507A-4A87-A208-DCD2EF8AE708}">
  <ds:schemaRefs/>
</ds:datastoreItem>
</file>

<file path=customXml/itemProps3.xml><?xml version="1.0" encoding="utf-8"?>
<ds:datastoreItem xmlns:ds="http://schemas.openxmlformats.org/officeDocument/2006/customXml" ds:itemID="{0815082D-7FAF-4B8C-899A-80A7B2E061AC}">
  <ds:schemaRefs/>
</ds:datastoreItem>
</file>

<file path=customXml/itemProps4.xml><?xml version="1.0" encoding="utf-8"?>
<ds:datastoreItem xmlns:ds="http://schemas.openxmlformats.org/officeDocument/2006/customXml" ds:itemID="{3ACD7CC4-8F76-4080-84E9-D3A7E6EB1C4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48</TotalTime>
  <Words>1713</Words>
  <Application>Microsoft Office PowerPoint</Application>
  <PresentationFormat>Widescreen</PresentationFormat>
  <Paragraphs>322</Paragraphs>
  <Slides>26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6</vt:i4>
      </vt:variant>
    </vt:vector>
  </HeadingPairs>
  <TitlesOfParts>
    <vt:vector size="30" baseType="lpstr">
      <vt:lpstr>Arial</vt:lpstr>
      <vt:lpstr>Arial Black</vt:lpstr>
      <vt:lpstr>Blank</vt:lpstr>
      <vt:lpstr>think-cell Slide</vt:lpstr>
      <vt:lpstr>Eftersyn af brandtekniske installationer og passiv brandsikring</vt:lpstr>
      <vt:lpstr> Brandtekniske installationer </vt:lpstr>
      <vt:lpstr>Materiale for kontrol af brandtekniske installationer</vt:lpstr>
      <vt:lpstr> Lovgivning </vt:lpstr>
      <vt:lpstr> Opgaver for Driftsansvarlig </vt:lpstr>
      <vt:lpstr>Afprøvning af alarmoverførelsen til redningsberedskabet </vt:lpstr>
      <vt:lpstr> Kontrol trappesprinkling </vt:lpstr>
      <vt:lpstr> Kontrol jf. DBI retningslinje 251/4001 1. udgave april 2009 </vt:lpstr>
      <vt:lpstr> Kontrol jf. DBI retningslinje 251/4001 3. udgave december 2021 </vt:lpstr>
      <vt:lpstr> Brandventilation i luftsluse over 22 meter (ABV)</vt:lpstr>
      <vt:lpstr> Røgudluftning-RU</vt:lpstr>
      <vt:lpstr>Flugtvejs- og panikbelysning</vt:lpstr>
      <vt:lpstr> Stigrør</vt:lpstr>
      <vt:lpstr> Brandmandselevator</vt:lpstr>
      <vt:lpstr>Passiv brandsikring </vt:lpstr>
      <vt:lpstr>Klassifikation af byggevare</vt:lpstr>
      <vt:lpstr> Kontrol af passiv brandsikring </vt:lpstr>
      <vt:lpstr> Kontrol af gennemføringer  </vt:lpstr>
      <vt:lpstr> Eksisterende forhold før 1998  </vt:lpstr>
      <vt:lpstr> Eksisterende forhold 1998 - 2018  </vt:lpstr>
      <vt:lpstr> Eksisterende forhold 1998 - 2018  </vt:lpstr>
      <vt:lpstr>Kontrol af gennemføringer efter BR18  </vt:lpstr>
      <vt:lpstr> Beklædning </vt:lpstr>
      <vt:lpstr> Indvendig loft beklædning  </vt:lpstr>
      <vt:lpstr> Indvendig nedhængt loft  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mas Larsen1</dc:creator>
  <cp:lastModifiedBy>Ole Nedahl</cp:lastModifiedBy>
  <cp:revision>8</cp:revision>
  <dcterms:created xsi:type="dcterms:W3CDTF">2025-07-17T09:43:43Z</dcterms:created>
  <dcterms:modified xsi:type="dcterms:W3CDTF">2026-05-11T07:0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13d6eb5-b569-4ec8-bb5e-41841ec5db11_Enabled">
    <vt:lpwstr>true</vt:lpwstr>
  </property>
  <property fmtid="{D5CDD505-2E9C-101B-9397-08002B2CF9AE}" pid="3" name="MSIP_Label_513d6eb5-b569-4ec8-bb5e-41841ec5db11_SetDate">
    <vt:lpwstr>2024-09-02T14:32:30Z</vt:lpwstr>
  </property>
  <property fmtid="{D5CDD505-2E9C-101B-9397-08002B2CF9AE}" pid="4" name="MSIP_Label_513d6eb5-b569-4ec8-bb5e-41841ec5db11_Method">
    <vt:lpwstr>Standard</vt:lpwstr>
  </property>
  <property fmtid="{D5CDD505-2E9C-101B-9397-08002B2CF9AE}" pid="5" name="MSIP_Label_513d6eb5-b569-4ec8-bb5e-41841ec5db11_Name">
    <vt:lpwstr>Internal</vt:lpwstr>
  </property>
  <property fmtid="{D5CDD505-2E9C-101B-9397-08002B2CF9AE}" pid="6" name="MSIP_Label_513d6eb5-b569-4ec8-bb5e-41841ec5db11_SiteId">
    <vt:lpwstr>b131966a-2068-4b91-aeab-577ed32cecd1</vt:lpwstr>
  </property>
  <property fmtid="{D5CDD505-2E9C-101B-9397-08002B2CF9AE}" pid="7" name="MSIP_Label_513d6eb5-b569-4ec8-bb5e-41841ec5db11_ActionId">
    <vt:lpwstr>2e2adfa6-b0fb-4026-acb4-76caeb832c71</vt:lpwstr>
  </property>
  <property fmtid="{D5CDD505-2E9C-101B-9397-08002B2CF9AE}" pid="8" name="MSIP_Label_513d6eb5-b569-4ec8-bb5e-41841ec5db11_ContentBits">
    <vt:lpwstr>0</vt:lpwstr>
  </property>
  <property fmtid="{D5CDD505-2E9C-101B-9397-08002B2CF9AE}" pid="9" name="TemplafyTimeStamp">
    <vt:lpwstr>2024-12-09T15:25:44</vt:lpwstr>
  </property>
  <property fmtid="{D5CDD505-2E9C-101B-9397-08002B2CF9AE}" pid="10" name="TemplafyTenantId">
    <vt:lpwstr>falck</vt:lpwstr>
  </property>
  <property fmtid="{D5CDD505-2E9C-101B-9397-08002B2CF9AE}" pid="11" name="TemplafyTemplateId">
    <vt:lpwstr>1067718073102368910</vt:lpwstr>
  </property>
  <property fmtid="{D5CDD505-2E9C-101B-9397-08002B2CF9AE}" pid="12" name="TemplafyUserProfileId">
    <vt:lpwstr>1225651029772075015</vt:lpwstr>
  </property>
  <property fmtid="{D5CDD505-2E9C-101B-9397-08002B2CF9AE}" pid="13" name="TemplafyLanguageCode">
    <vt:lpwstr>da-DK</vt:lpwstr>
  </property>
  <property fmtid="{D5CDD505-2E9C-101B-9397-08002B2CF9AE}" pid="14" name="TemplafyFromBlank">
    <vt:bool>true</vt:bool>
  </property>
</Properties>
</file>